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  <p:sldMasterId id="2147483649" r:id="rId2"/>
  </p:sldMasterIdLst>
  <p:notesMasterIdLst>
    <p:notesMasterId r:id="rId17"/>
  </p:notesMasterIdLst>
  <p:sldIdLst>
    <p:sldId id="256" r:id="rId3"/>
    <p:sldId id="257" r:id="rId4"/>
    <p:sldId id="258" r:id="rId5"/>
    <p:sldId id="259" r:id="rId6"/>
    <p:sldId id="260" r:id="rId7"/>
    <p:sldId id="261" r:id="rId8"/>
    <p:sldId id="262" r:id="rId9"/>
    <p:sldId id="263" r:id="rId10"/>
    <p:sldId id="264" r:id="rId11"/>
    <p:sldId id="265" r:id="rId12"/>
    <p:sldId id="266" r:id="rId13"/>
    <p:sldId id="267" r:id="rId14"/>
    <p:sldId id="268" r:id="rId15"/>
    <p:sldId id="269" r:id="rId16"/>
  </p:sldIdLst>
  <p:sldSz cx="9144000" cy="6858000" type="screen4x3"/>
  <p:notesSz cx="6797675" cy="9926638"/>
  <p:defaultTextStyle>
    <a:defPPr lvl="0">
      <a:defRPr lang="en-US"/>
    </a:defPPr>
    <a:lvl1pPr marL="0" lv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lvl="1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lvl="2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lvl="3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lvl="4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lvl="5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lvl="6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lvl="7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lvl="8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>
        <p15:guide id="1" orient="horz" pos="1344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43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90651C3A-4460-11DB-9652-00E08161165F}">
  <a:tblStyle styleId="{0E3FDE45-AF77-4B5C-9715-49D594BDF05E}" styleName="Светлый стиль 1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1" d="100"/>
          <a:sy n="101" d="100"/>
        </p:scale>
        <p:origin x="-264" y="-90"/>
      </p:cViewPr>
      <p:guideLst>
        <p:guide orient="horz" pos="1344"/>
        <p:guide orient="horz" pos="43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2"/>
            <a:ext cx="2945659" cy="498056"/>
          </a:xfrm>
          <a:prstGeom prst="rect">
            <a:avLst/>
          </a:prstGeom>
        </p:spPr>
        <p:txBody>
          <a:bodyPr vert="horz" lIns="91430" tIns="45716" rIns="91430" bIns="45716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6" y="2"/>
            <a:ext cx="2945659" cy="498056"/>
          </a:xfrm>
          <a:prstGeom prst="rect">
            <a:avLst/>
          </a:prstGeom>
        </p:spPr>
        <p:txBody>
          <a:bodyPr vert="horz" lIns="91430" tIns="45716" rIns="91430" bIns="45716" rtlCol="0"/>
          <a:lstStyle>
            <a:lvl1pPr algn="r">
              <a:defRPr sz="1200"/>
            </a:lvl1pPr>
          </a:lstStyle>
          <a:p>
            <a:fld id="{586841C1-8CFC-4A10-86DC-E5C8C15AD1D5}" type="datetimeFigureOut">
              <a:rPr lang="ru-RU" smtClean="0"/>
              <a:t>24.12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1241425"/>
            <a:ext cx="44672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0" tIns="45716" rIns="91430" bIns="45716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6"/>
            <a:ext cx="5438140" cy="3908614"/>
          </a:xfrm>
          <a:prstGeom prst="rect">
            <a:avLst/>
          </a:prstGeom>
        </p:spPr>
        <p:txBody>
          <a:bodyPr vert="horz" lIns="91430" tIns="45716" rIns="91430" bIns="45716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3" y="9428587"/>
            <a:ext cx="2945659" cy="498055"/>
          </a:xfrm>
          <a:prstGeom prst="rect">
            <a:avLst/>
          </a:prstGeom>
        </p:spPr>
        <p:txBody>
          <a:bodyPr vert="horz" lIns="91430" tIns="45716" rIns="91430" bIns="45716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6" y="9428587"/>
            <a:ext cx="2945659" cy="498055"/>
          </a:xfrm>
          <a:prstGeom prst="rect">
            <a:avLst/>
          </a:prstGeom>
        </p:spPr>
        <p:txBody>
          <a:bodyPr vert="horz" lIns="91430" tIns="45716" rIns="91430" bIns="45716" rtlCol="0" anchor="b"/>
          <a:lstStyle>
            <a:lvl1pPr algn="r">
              <a:defRPr sz="1200"/>
            </a:lvl1pPr>
          </a:lstStyle>
          <a:p>
            <a:fld id="{79A85C2C-2C20-40C6-9386-811BECB7922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9709677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авительство Н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70029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94FAB-1076-432D-83D5-95EF1DA8B6C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15335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94FAB-1076-432D-83D5-95EF1DA8B6C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820549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94FAB-1076-432D-83D5-95EF1DA8B6C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202978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94FAB-1076-432D-83D5-95EF1DA8B6C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635267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94FAB-1076-432D-83D5-95EF1DA8B6C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506049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94FAB-1076-432D-83D5-95EF1DA8B6C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48733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авительство НО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980650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авительство НО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152602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455710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94FAB-1076-432D-83D5-95EF1DA8B6C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505610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94FAB-1076-432D-83D5-95EF1DA8B6C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793490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94FAB-1076-432D-83D5-95EF1DA8B6C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63529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94FAB-1076-432D-83D5-95EF1DA8B6C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973440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94FAB-1076-432D-83D5-95EF1DA8B6C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1291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 userDrawn="1"/>
        </p:nvCxnSpPr>
        <p:spPr>
          <a:xfrm>
            <a:off x="685800" y="1285540"/>
            <a:ext cx="8750122" cy="0"/>
          </a:xfrm>
          <a:prstGeom prst="line">
            <a:avLst/>
          </a:prstGeom>
          <a:ln w="28575">
            <a:solidFill>
              <a:srgbClr val="F348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4631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4" r:id="rId2"/>
    <p:sldLayoutId id="2147483665" r:id="rId3"/>
    <p:sldLayoutId id="2147483666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rgbClr val="004B57"/>
          </a:solidFill>
          <a:latin typeface="Fedra Sans Pro Medium" panose="020B06040400000200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rgbClr val="004B57"/>
          </a:solidFill>
          <a:latin typeface="Fedra Sans Pro Book" panose="020B05040400000200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4B57"/>
          </a:solidFill>
          <a:latin typeface="Fedra Sans Pro Book" panose="020B05040400000200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4B57"/>
          </a:solidFill>
          <a:latin typeface="Fedra Sans Pro Book" panose="020B05040400000200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4B57"/>
          </a:solidFill>
          <a:latin typeface="Fedra Sans Pro Book" panose="020B05040400000200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4B57"/>
          </a:solidFill>
          <a:latin typeface="Fedra Sans Pro Book" panose="020B05040400000200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094FAB-1076-432D-83D5-95EF1DA8B6C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09918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://95.163.211.65:8080/comments_sorted/2/70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5" Type="http://schemas.openxmlformats.org/officeDocument/2006/relationships/hyperlink" Target="mailto:searchnow@list.ru" TargetMode="External"/><Relationship Id="rId4" Type="http://schemas.openxmlformats.org/officeDocument/2006/relationships/hyperlink" Target="mailto:nov-mdc@yandex.ru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sv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sv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0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Рисунок 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7500" y="263724"/>
            <a:ext cx="711200" cy="823920"/>
          </a:xfrm>
          <a:prstGeom prst="rect">
            <a:avLst/>
          </a:prstGeom>
        </p:spPr>
      </p:pic>
      <p:sp>
        <p:nvSpPr>
          <p:cNvPr id="19" name="Заголовок 1"/>
          <p:cNvSpPr txBox="1">
            <a:spLocks/>
          </p:cNvSpPr>
          <p:nvPr/>
        </p:nvSpPr>
        <p:spPr>
          <a:xfrm>
            <a:off x="2838451" y="479906"/>
            <a:ext cx="5276850" cy="267137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4400" kern="1200" dirty="0">
                <a:solidFill>
                  <a:srgbClr val="002060"/>
                </a:solidFill>
                <a:latin typeface="Fedra Sans Pro Bold" panose="020B08040400000200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ru-RU" sz="1400" spc="40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ПРАВИТЕЛЬСТВО НОВГОРОДСКОЙ ОБЛАСТИ</a:t>
            </a:r>
          </a:p>
          <a:p>
            <a:pPr algn="ctr"/>
            <a:r>
              <a:rPr lang="ru-RU" sz="1400" spc="40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Министерство здравоохранения Новгородской области</a:t>
            </a:r>
            <a:endParaRPr lang="ru-RU" sz="1400" spc="40" dirty="0">
              <a:solidFill>
                <a:srgbClr val="F348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667000"/>
            <a:ext cx="9144000" cy="4572000"/>
          </a:xfrm>
          <a:prstGeom prst="rect">
            <a:avLst/>
          </a:prstGeom>
        </p:spPr>
      </p:pic>
      <p:sp>
        <p:nvSpPr>
          <p:cNvPr id="16" name="Заголовок 1"/>
          <p:cNvSpPr txBox="1">
            <a:spLocks/>
          </p:cNvSpPr>
          <p:nvPr/>
        </p:nvSpPr>
        <p:spPr>
          <a:xfrm>
            <a:off x="1552576" y="1514103"/>
            <a:ext cx="7323242" cy="257547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4400" kern="1200" dirty="0">
                <a:solidFill>
                  <a:srgbClr val="002060"/>
                </a:solidFill>
                <a:latin typeface="Fedra Sans Pro Bold" panose="020B0804040000020004" pitchFamily="34" charset="0"/>
                <a:ea typeface="+mj-ea"/>
                <a:cs typeface="+mj-cs"/>
              </a:defRPr>
            </a:lvl1pPr>
          </a:lstStyle>
          <a:p>
            <a:pPr algn="r"/>
            <a:r>
              <a:rPr lang="ru-RU" sz="3600" b="1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СПОРТ РЕШЕНИЯ</a:t>
            </a:r>
          </a:p>
          <a:p>
            <a:pPr algn="r"/>
            <a:r>
              <a:rPr lang="ru-RU" sz="1800" b="1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Оценка качества медицинских услуг Новгородской области»</a:t>
            </a:r>
          </a:p>
          <a:p>
            <a:pPr algn="r"/>
            <a:endParaRPr lang="ru-RU" sz="1800" b="1" i="1" dirty="0">
              <a:solidFill>
                <a:srgbClr val="F348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4305300" y="2487820"/>
            <a:ext cx="4570518" cy="421130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4400" kern="1200" dirty="0">
                <a:solidFill>
                  <a:srgbClr val="002060"/>
                </a:solidFill>
                <a:latin typeface="Fedra Sans Pro Bold" panose="020B0804040000020004" pitchFamily="34" charset="0"/>
                <a:ea typeface="+mj-ea"/>
                <a:cs typeface="+mj-cs"/>
              </a:defRPr>
            </a:lvl1pPr>
          </a:lstStyle>
          <a:p>
            <a:pPr algn="r"/>
            <a:r>
              <a:rPr lang="ru-RU" sz="2000" b="1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анда Новгородской области</a:t>
            </a: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2552700" y="2909931"/>
            <a:ext cx="6323117" cy="257547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4400" kern="1200" dirty="0">
                <a:solidFill>
                  <a:srgbClr val="002060"/>
                </a:solidFill>
                <a:latin typeface="Fedra Sans Pro Bold" panose="020B0804040000020004" pitchFamily="34" charset="0"/>
                <a:ea typeface="+mj-ea"/>
                <a:cs typeface="+mj-cs"/>
              </a:defRPr>
            </a:lvl1pPr>
          </a:lstStyle>
          <a:p>
            <a:pPr algn="r"/>
            <a:r>
              <a:rPr lang="ru-RU" sz="1100" b="1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тники:</a:t>
            </a:r>
          </a:p>
          <a:p>
            <a:pPr algn="r"/>
            <a:r>
              <a:rPr lang="ru-RU" sz="1600" b="1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талин Игорь</a:t>
            </a:r>
          </a:p>
          <a:p>
            <a:pPr algn="r"/>
            <a:r>
              <a:rPr lang="ru-RU" sz="1600" b="1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езина Руслана</a:t>
            </a:r>
          </a:p>
          <a:p>
            <a:pPr algn="r"/>
            <a:r>
              <a:rPr lang="ru-RU" sz="1600" b="1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язанцев Пётр</a:t>
            </a:r>
            <a:r>
              <a:rPr lang="ru-RU" sz="2000" b="1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4762500" y="2852852"/>
            <a:ext cx="4113317" cy="0"/>
          </a:xfrm>
          <a:prstGeom prst="line">
            <a:avLst/>
          </a:prstGeom>
          <a:ln>
            <a:solidFill>
              <a:srgbClr val="F3484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Заголовок 1"/>
          <p:cNvSpPr txBox="1">
            <a:spLocks/>
          </p:cNvSpPr>
          <p:nvPr/>
        </p:nvSpPr>
        <p:spPr>
          <a:xfrm>
            <a:off x="131675" y="6163678"/>
            <a:ext cx="8640054" cy="346850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4400" kern="1200" dirty="0">
                <a:solidFill>
                  <a:srgbClr val="002060"/>
                </a:solidFill>
                <a:latin typeface="Fedra Sans Pro Bold" panose="020B0804040000020004" pitchFamily="34" charset="0"/>
                <a:ea typeface="+mj-ea"/>
                <a:cs typeface="+mj-cs"/>
              </a:defRPr>
            </a:lvl1pPr>
          </a:lstStyle>
          <a:p>
            <a:pPr algn="r"/>
            <a:r>
              <a:rPr lang="ru-RU" sz="1200" b="1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сылка:</a:t>
            </a:r>
          </a:p>
          <a:p>
            <a:pPr algn="r"/>
            <a:r>
              <a:rPr lang="en-US" sz="1200" b="1" dirty="0" smtClean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ttps</a:t>
            </a:r>
            <a:r>
              <a:rPr lang="en-US" sz="1200" b="1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//git.asi./shatalin.ip/medical-services-quality</a:t>
            </a:r>
            <a:endParaRPr lang="ru-RU" sz="1200" dirty="0">
              <a:solidFill>
                <a:schemeClr val="bg1"/>
              </a:solidFill>
              <a:latin typeface="Arial" panose="020B0604020202020204" pitchFamily="34" charset="0"/>
            </a:endParaRPr>
          </a:p>
          <a:p>
            <a:pPr algn="r"/>
            <a:r>
              <a:rPr lang="en-US" sz="1200" b="1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ttp://95.163.211.65:8080/comments_sorted/2/70</a:t>
            </a:r>
          </a:p>
        </p:txBody>
      </p:sp>
    </p:spTree>
    <p:extLst>
      <p:ext uri="{BB962C8B-B14F-4D97-AF65-F5344CB8AC3E}">
        <p14:creationId xmlns:p14="http://schemas.microsoft.com/office/powerpoint/2010/main" val="42749205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7500" y="263724"/>
            <a:ext cx="711200" cy="823920"/>
          </a:xfrm>
          <a:prstGeom prst="rect">
            <a:avLst/>
          </a:prstGeom>
        </p:spPr>
      </p:pic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603250" y="222047"/>
            <a:ext cx="1295400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 sz="5000" dirty="0">
                <a:solidFill>
                  <a:schemeClr val="bg2">
                    <a:lumMod val="75000"/>
                  </a:schemeClr>
                </a:solidFill>
              </a:rPr>
              <a:t>0</a:t>
            </a:r>
            <a:r>
              <a:rPr lang="ru-RU" altLang="ru-RU" sz="5000" dirty="0">
                <a:solidFill>
                  <a:srgbClr val="F34840"/>
                </a:solidFill>
              </a:rPr>
              <a:t>9</a:t>
            </a:r>
          </a:p>
        </p:txBody>
      </p:sp>
      <p:sp>
        <p:nvSpPr>
          <p:cNvPr id="16" name="Заголовок 6">
            <a:extLst>
              <a:ext uri="{FF2B5EF4-FFF2-40B4-BE49-F238E27FC236}">
                <a16:creationId xmlns="" xmlns:a16="http://schemas.microsoft.com/office/drawing/2014/main" id="{D9E4398A-F57C-44F1-B6BC-5FE6C95B46E5}"/>
              </a:ext>
            </a:extLst>
          </p:cNvPr>
          <p:cNvSpPr txBox="1">
            <a:spLocks/>
          </p:cNvSpPr>
          <p:nvPr/>
        </p:nvSpPr>
        <p:spPr>
          <a:xfrm>
            <a:off x="756138" y="1234448"/>
            <a:ext cx="7536962" cy="507995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1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ТОГИ ВНЕДРЕНИЯ</a:t>
            </a:r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2838451" y="479906"/>
            <a:ext cx="5276850" cy="267137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4400" kern="1200" dirty="0">
                <a:solidFill>
                  <a:srgbClr val="002060"/>
                </a:solidFill>
                <a:latin typeface="Fedra Sans Pro Bold" panose="020B08040400000200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ru-RU" sz="1400" spc="40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ПРАВИТЕЛЬСТВО НОВГОРОДСКОЙ ОБЛАСТИ</a:t>
            </a:r>
          </a:p>
          <a:p>
            <a:pPr algn="ctr"/>
            <a:r>
              <a:rPr lang="ru-RU" sz="1400" spc="40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Министерство здравоохранения Новгородской области</a:t>
            </a:r>
            <a:endParaRPr lang="ru-RU" sz="1400" spc="40" dirty="0">
              <a:solidFill>
                <a:srgbClr val="F348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30239890-C13C-430B-95F6-853AAE19239B}"/>
              </a:ext>
            </a:extLst>
          </p:cNvPr>
          <p:cNvSpPr/>
          <p:nvPr/>
        </p:nvSpPr>
        <p:spPr>
          <a:xfrm>
            <a:off x="887081" y="2285806"/>
            <a:ext cx="7868480" cy="743905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чество результатов: </a:t>
            </a: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сего </a:t>
            </a:r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анализировано </a:t>
            </a: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392 </a:t>
            </a:r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общения.</a:t>
            </a:r>
          </a:p>
          <a:p>
            <a:pPr marL="285750" indent="-106363" algn="just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из них относящихся к отзывам по здравоохранению – 63</a:t>
            </a: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106363" algn="just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из них корректно оцененных – </a:t>
            </a: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4,2</a:t>
            </a:r>
            <a:r>
              <a:rPr lang="en-US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="" xmlns:a16="http://schemas.microsoft.com/office/drawing/2014/main" id="{9151D28D-3560-4C5D-9C44-72594B6D9EDE}"/>
              </a:ext>
            </a:extLst>
          </p:cNvPr>
          <p:cNvSpPr/>
          <p:nvPr/>
        </p:nvSpPr>
        <p:spPr>
          <a:xfrm>
            <a:off x="887658" y="1669072"/>
            <a:ext cx="7868481" cy="520208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истема способна собирать и классифицировать материалы с указанных </a:t>
            </a: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тернет-источников </a:t>
            </a:r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Овал 11">
            <a:extLst>
              <a:ext uri="{FF2B5EF4-FFF2-40B4-BE49-F238E27FC236}">
                <a16:creationId xmlns="" xmlns:a16="http://schemas.microsoft.com/office/drawing/2014/main" id="{33DE7188-90D6-4BF2-A703-929647D46CC0}"/>
              </a:ext>
            </a:extLst>
          </p:cNvPr>
          <p:cNvSpPr/>
          <p:nvPr/>
        </p:nvSpPr>
        <p:spPr>
          <a:xfrm>
            <a:off x="603250" y="1577419"/>
            <a:ext cx="322177" cy="30125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1</a:t>
            </a:r>
          </a:p>
        </p:txBody>
      </p:sp>
      <p:sp>
        <p:nvSpPr>
          <p:cNvPr id="15" name="Овал 14">
            <a:extLst>
              <a:ext uri="{FF2B5EF4-FFF2-40B4-BE49-F238E27FC236}">
                <a16:creationId xmlns="" xmlns:a16="http://schemas.microsoft.com/office/drawing/2014/main" id="{C3BD025E-E662-4E88-98A6-DD0640F9CB37}"/>
              </a:ext>
            </a:extLst>
          </p:cNvPr>
          <p:cNvSpPr/>
          <p:nvPr/>
        </p:nvSpPr>
        <p:spPr>
          <a:xfrm>
            <a:off x="602673" y="2193837"/>
            <a:ext cx="322177" cy="30125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2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="" xmlns:a16="http://schemas.microsoft.com/office/drawing/2014/main" id="{07D7AA50-30E7-48D2-9976-1AE5517968FC}"/>
              </a:ext>
            </a:extLst>
          </p:cNvPr>
          <p:cNvSpPr/>
          <p:nvPr/>
        </p:nvSpPr>
        <p:spPr>
          <a:xfrm>
            <a:off x="887081" y="3127068"/>
            <a:ext cx="7868480" cy="612000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связи с низкой долей отзывов относящимся непосредственно к здравоохранению</a:t>
            </a:r>
            <a:r>
              <a:rPr lang="en-US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обходимо доработать систему для внедрения в промышленную </a:t>
            </a: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ксплуатацию</a:t>
            </a:r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Овал 17">
            <a:extLst>
              <a:ext uri="{FF2B5EF4-FFF2-40B4-BE49-F238E27FC236}">
                <a16:creationId xmlns="" xmlns:a16="http://schemas.microsoft.com/office/drawing/2014/main" id="{18592EB4-25B4-41C5-8A7D-C01775EFAF81}"/>
              </a:ext>
            </a:extLst>
          </p:cNvPr>
          <p:cNvSpPr/>
          <p:nvPr/>
        </p:nvSpPr>
        <p:spPr>
          <a:xfrm>
            <a:off x="602673" y="2987691"/>
            <a:ext cx="322177" cy="30125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3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="" xmlns:a16="http://schemas.microsoft.com/office/drawing/2014/main" id="{D78D3638-25AE-49E2-916A-67AA3AE6676B}"/>
              </a:ext>
            </a:extLst>
          </p:cNvPr>
          <p:cNvSpPr/>
          <p:nvPr/>
        </p:nvSpPr>
        <p:spPr>
          <a:xfrm>
            <a:off x="887081" y="3858009"/>
            <a:ext cx="7868480" cy="540000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меется возможность анализировать отзывы о конкретных </a:t>
            </a: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дицинских организациях</a:t>
            </a:r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Овал 19">
            <a:extLst>
              <a:ext uri="{FF2B5EF4-FFF2-40B4-BE49-F238E27FC236}">
                <a16:creationId xmlns="" xmlns:a16="http://schemas.microsoft.com/office/drawing/2014/main" id="{6B1AD874-744D-4852-A6E0-0AD5656CBEEF}"/>
              </a:ext>
            </a:extLst>
          </p:cNvPr>
          <p:cNvSpPr/>
          <p:nvPr/>
        </p:nvSpPr>
        <p:spPr>
          <a:xfrm>
            <a:off x="602672" y="3707381"/>
            <a:ext cx="322177" cy="30125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4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AF49C31A-1DA0-4D6C-BD48-BBD5283F2CFF}"/>
              </a:ext>
            </a:extLst>
          </p:cNvPr>
          <p:cNvSpPr/>
          <p:nvPr/>
        </p:nvSpPr>
        <p:spPr>
          <a:xfrm>
            <a:off x="887081" y="4506129"/>
            <a:ext cx="7868480" cy="540001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ство РОИВ, </a:t>
            </a: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нкретной медицинской организации </a:t>
            </a:r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ожет оперативно </a:t>
            </a: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принимать </a:t>
            </a:r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йствия по улучшению качества </a:t>
            </a: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оставляемой медицинской помощи</a:t>
            </a:r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Овал 21">
            <a:extLst>
              <a:ext uri="{FF2B5EF4-FFF2-40B4-BE49-F238E27FC236}">
                <a16:creationId xmlns="" xmlns:a16="http://schemas.microsoft.com/office/drawing/2014/main" id="{C1DCD063-7581-4DD7-96CA-431CF545B75F}"/>
              </a:ext>
            </a:extLst>
          </p:cNvPr>
          <p:cNvSpPr/>
          <p:nvPr/>
        </p:nvSpPr>
        <p:spPr>
          <a:xfrm>
            <a:off x="602672" y="4355502"/>
            <a:ext cx="322177" cy="30125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5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="" xmlns:a16="http://schemas.microsoft.com/office/drawing/2014/main" id="{A7A687FE-D309-4800-8C5F-20F7AACEC49B}"/>
              </a:ext>
            </a:extLst>
          </p:cNvPr>
          <p:cNvSpPr/>
          <p:nvPr/>
        </p:nvSpPr>
        <p:spPr>
          <a:xfrm>
            <a:off x="887081" y="5135157"/>
            <a:ext cx="7868480" cy="621994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сь программный код полностью открыт. Использованные библиотеки также</a:t>
            </a:r>
          </a:p>
          <a:p>
            <a:pPr algn="just"/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спространяются под открытыми </a:t>
            </a: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ицензиями</a:t>
            </a:r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Овал 23">
            <a:extLst>
              <a:ext uri="{FF2B5EF4-FFF2-40B4-BE49-F238E27FC236}">
                <a16:creationId xmlns="" xmlns:a16="http://schemas.microsoft.com/office/drawing/2014/main" id="{F01F6AE2-E3F5-42AF-B831-ED057DFD9957}"/>
              </a:ext>
            </a:extLst>
          </p:cNvPr>
          <p:cNvSpPr/>
          <p:nvPr/>
        </p:nvSpPr>
        <p:spPr>
          <a:xfrm>
            <a:off x="602673" y="5011126"/>
            <a:ext cx="322177" cy="30125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6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="" xmlns:a16="http://schemas.microsoft.com/office/drawing/2014/main" id="{838E69E0-2F07-45A7-A9B5-FA6D0DDFD324}"/>
              </a:ext>
            </a:extLst>
          </p:cNvPr>
          <p:cNvSpPr/>
          <p:nvPr/>
        </p:nvSpPr>
        <p:spPr>
          <a:xfrm>
            <a:off x="887080" y="5881182"/>
            <a:ext cx="7868480" cy="621994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ный код создан с уклоном на универсальность: любой регион России без труда сможет использовать его для анализа отзывов о своих </a:t>
            </a: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дучреждениях</a:t>
            </a:r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Овал 25">
            <a:extLst>
              <a:ext uri="{FF2B5EF4-FFF2-40B4-BE49-F238E27FC236}">
                <a16:creationId xmlns="" xmlns:a16="http://schemas.microsoft.com/office/drawing/2014/main" id="{9025CCB1-AE33-4E20-88A2-171741E6DF02}"/>
              </a:ext>
            </a:extLst>
          </p:cNvPr>
          <p:cNvSpPr/>
          <p:nvPr/>
        </p:nvSpPr>
        <p:spPr>
          <a:xfrm>
            <a:off x="602672" y="5757151"/>
            <a:ext cx="322177" cy="30125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16692305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7500" y="263724"/>
            <a:ext cx="711200" cy="823920"/>
          </a:xfrm>
          <a:prstGeom prst="rect">
            <a:avLst/>
          </a:prstGeom>
        </p:spPr>
      </p:pic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603250" y="222047"/>
            <a:ext cx="1295400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5000" dirty="0">
                <a:solidFill>
                  <a:srgbClr val="F34840"/>
                </a:solidFill>
              </a:rPr>
              <a:t>10</a:t>
            </a:r>
          </a:p>
        </p:txBody>
      </p:sp>
      <p:sp>
        <p:nvSpPr>
          <p:cNvPr id="16" name="Заголовок 6">
            <a:extLst>
              <a:ext uri="{FF2B5EF4-FFF2-40B4-BE49-F238E27FC236}">
                <a16:creationId xmlns="" xmlns:a16="http://schemas.microsoft.com/office/drawing/2014/main" id="{D9E4398A-F57C-44F1-B6BC-5FE6C95B46E5}"/>
              </a:ext>
            </a:extLst>
          </p:cNvPr>
          <p:cNvSpPr txBox="1">
            <a:spLocks/>
          </p:cNvSpPr>
          <p:nvPr/>
        </p:nvSpPr>
        <p:spPr>
          <a:xfrm>
            <a:off x="756138" y="1360631"/>
            <a:ext cx="7536962" cy="507995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1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ИМУЩЕСТВА И НЕДОСТАТКИ РЕШЕНИЯ</a:t>
            </a:r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2838451" y="479906"/>
            <a:ext cx="5276850" cy="267137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4400" kern="1200" dirty="0">
                <a:solidFill>
                  <a:srgbClr val="002060"/>
                </a:solidFill>
                <a:latin typeface="Fedra Sans Pro Bold" panose="020B08040400000200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ru-RU" sz="1400" spc="40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ПРАВИТЕЛЬСТВО НОВГОРОДСКОЙ ОБЛАСТИ</a:t>
            </a:r>
          </a:p>
          <a:p>
            <a:pPr algn="ctr"/>
            <a:r>
              <a:rPr lang="ru-RU" sz="1400" spc="40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Министерство здравоохранения Новгородской области</a:t>
            </a:r>
            <a:endParaRPr lang="ru-RU" sz="1400" spc="40" dirty="0">
              <a:solidFill>
                <a:srgbClr val="F348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B1A9E967-AA29-4192-92E5-11A1DFF10CA0}"/>
              </a:ext>
            </a:extLst>
          </p:cNvPr>
          <p:cNvSpPr/>
          <p:nvPr/>
        </p:nvSpPr>
        <p:spPr>
          <a:xfrm>
            <a:off x="1000791" y="3429000"/>
            <a:ext cx="7200000" cy="1080000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14300" lvl="1" algn="just">
              <a:buClr>
                <a:srgbClr val="C00000"/>
              </a:buClr>
            </a:pP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риод внедрения и тестирования</a:t>
            </a:r>
            <a:r>
              <a:rPr 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истемы требуется участие заказчика для</a:t>
            </a:r>
            <a:r>
              <a:rPr 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ализации удобного для него </a:t>
            </a: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терфейса</a:t>
            </a:r>
            <a:endParaRPr lang="en-US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="" xmlns:a16="http://schemas.microsoft.com/office/drawing/2014/main" id="{669DF2CC-E441-4AEF-8BEE-CBB4E8BDCF2A}"/>
              </a:ext>
            </a:extLst>
          </p:cNvPr>
          <p:cNvSpPr/>
          <p:nvPr/>
        </p:nvSpPr>
        <p:spPr>
          <a:xfrm>
            <a:off x="1016303" y="2120627"/>
            <a:ext cx="7200000" cy="1080000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14300" lvl="1" algn="just">
              <a:buClr>
                <a:srgbClr val="C00000"/>
              </a:buClr>
            </a:pP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истема сразу после установки и настройки</a:t>
            </a:r>
            <a:r>
              <a:rPr 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пособна собирать и классифицировать</a:t>
            </a:r>
            <a:r>
              <a:rPr 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ольшинство отзывов о </a:t>
            </a: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дицинских организациях </a:t>
            </a:r>
            <a:r>
              <a:rPr lang="en-US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гиона</a:t>
            </a:r>
            <a:endParaRPr lang="ru-RU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Овал 11">
            <a:extLst>
              <a:ext uri="{FF2B5EF4-FFF2-40B4-BE49-F238E27FC236}">
                <a16:creationId xmlns="" xmlns:a16="http://schemas.microsoft.com/office/drawing/2014/main" id="{E9860B72-1BBD-458B-9C71-DF3ACF335222}"/>
              </a:ext>
            </a:extLst>
          </p:cNvPr>
          <p:cNvSpPr/>
          <p:nvPr/>
        </p:nvSpPr>
        <p:spPr>
          <a:xfrm>
            <a:off x="731894" y="2028974"/>
            <a:ext cx="322177" cy="30125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1</a:t>
            </a:r>
          </a:p>
        </p:txBody>
      </p:sp>
      <p:sp>
        <p:nvSpPr>
          <p:cNvPr id="15" name="Овал 14">
            <a:extLst>
              <a:ext uri="{FF2B5EF4-FFF2-40B4-BE49-F238E27FC236}">
                <a16:creationId xmlns="" xmlns:a16="http://schemas.microsoft.com/office/drawing/2014/main" id="{77A3B25B-EFED-4EDD-81C4-69194C1671EF}"/>
              </a:ext>
            </a:extLst>
          </p:cNvPr>
          <p:cNvSpPr/>
          <p:nvPr/>
        </p:nvSpPr>
        <p:spPr>
          <a:xfrm>
            <a:off x="716383" y="3337031"/>
            <a:ext cx="322177" cy="30125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2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="" xmlns:a16="http://schemas.microsoft.com/office/drawing/2014/main" id="{CA2E5700-AADF-4E0A-AF63-38B0A189C018}"/>
              </a:ext>
            </a:extLst>
          </p:cNvPr>
          <p:cNvSpPr/>
          <p:nvPr/>
        </p:nvSpPr>
        <p:spPr>
          <a:xfrm>
            <a:off x="1000791" y="4802020"/>
            <a:ext cx="7200000" cy="1080000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14300" lvl="1" algn="just">
              <a:buClr>
                <a:srgbClr val="C00000"/>
              </a:buClr>
            </a:pP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обходимо проработать </a:t>
            </a: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терфейс системы</a:t>
            </a:r>
            <a:r>
              <a:rPr lang="en-US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я максимально удобного использования её</a:t>
            </a:r>
            <a:r>
              <a:rPr 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казчиком</a:t>
            </a:r>
            <a:endParaRPr lang="ru-RU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Овал 17">
            <a:extLst>
              <a:ext uri="{FF2B5EF4-FFF2-40B4-BE49-F238E27FC236}">
                <a16:creationId xmlns="" xmlns:a16="http://schemas.microsoft.com/office/drawing/2014/main" id="{794740EA-200F-4D23-82A9-07F9D0B1E463}"/>
              </a:ext>
            </a:extLst>
          </p:cNvPr>
          <p:cNvSpPr/>
          <p:nvPr/>
        </p:nvSpPr>
        <p:spPr>
          <a:xfrm>
            <a:off x="716383" y="4710051"/>
            <a:ext cx="322177" cy="30125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21172518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7500" y="263724"/>
            <a:ext cx="711200" cy="823920"/>
          </a:xfrm>
          <a:prstGeom prst="rect">
            <a:avLst/>
          </a:prstGeom>
        </p:spPr>
      </p:pic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603250" y="222047"/>
            <a:ext cx="1295400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5000" dirty="0">
                <a:solidFill>
                  <a:srgbClr val="F34840"/>
                </a:solidFill>
              </a:rPr>
              <a:t>11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="" xmlns:a16="http://schemas.microsoft.com/office/drawing/2014/main" id="{722D961E-AD5D-42BB-B69D-4B0519F98DDA}"/>
              </a:ext>
            </a:extLst>
          </p:cNvPr>
          <p:cNvSpPr txBox="1"/>
          <p:nvPr/>
        </p:nvSpPr>
        <p:spPr>
          <a:xfrm>
            <a:off x="682994" y="1393669"/>
            <a:ext cx="82225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"/>
            <a:r>
              <a:rPr lang="ru-RU" b="1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ЛЕДУЮЩИЕ ШАГИ</a:t>
            </a:r>
          </a:p>
        </p:txBody>
      </p:sp>
      <p:sp>
        <p:nvSpPr>
          <p:cNvPr id="24" name="Заголовок 1"/>
          <p:cNvSpPr txBox="1">
            <a:spLocks/>
          </p:cNvSpPr>
          <p:nvPr/>
        </p:nvSpPr>
        <p:spPr>
          <a:xfrm>
            <a:off x="2838451" y="479906"/>
            <a:ext cx="5276850" cy="267137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4400" kern="1200" dirty="0">
                <a:solidFill>
                  <a:srgbClr val="002060"/>
                </a:solidFill>
                <a:latin typeface="Fedra Sans Pro Bold" panose="020B08040400000200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ru-RU" sz="1400" spc="40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ПРАВИТЕЛЬСТВО НОВГОРОДСКОЙ ОБЛАСТИ</a:t>
            </a:r>
          </a:p>
          <a:p>
            <a:pPr algn="ctr"/>
            <a:r>
              <a:rPr lang="ru-RU" sz="1400" spc="40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Министерство здравоохранения Новгородской области</a:t>
            </a:r>
            <a:endParaRPr lang="ru-RU" sz="1400" spc="40" dirty="0">
              <a:solidFill>
                <a:srgbClr val="F348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="" xmlns:a16="http://schemas.microsoft.com/office/drawing/2014/main" id="{84B1DA23-A1DD-4136-97B5-0AD34E07E412}"/>
              </a:ext>
            </a:extLst>
          </p:cNvPr>
          <p:cNvSpPr/>
          <p:nvPr/>
        </p:nvSpPr>
        <p:spPr>
          <a:xfrm>
            <a:off x="648241" y="2369190"/>
            <a:ext cx="2557795" cy="319357"/>
          </a:xfrm>
          <a:prstGeom prst="rect">
            <a:avLst/>
          </a:prstGeom>
          <a:solidFill>
            <a:srgbClr val="E2E2E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algn="ctr"/>
            <a:r>
              <a:rPr lang="ru-RU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 концу января 2020г</a:t>
            </a:r>
          </a:p>
        </p:txBody>
      </p:sp>
      <p:sp>
        <p:nvSpPr>
          <p:cNvPr id="28" name="Прямоугольник 27">
            <a:extLst>
              <a:ext uri="{FF2B5EF4-FFF2-40B4-BE49-F238E27FC236}">
                <a16:creationId xmlns="" xmlns:a16="http://schemas.microsoft.com/office/drawing/2014/main" id="{31EFE7BA-0207-4EC6-A14E-7E50AEE79622}"/>
              </a:ext>
            </a:extLst>
          </p:cNvPr>
          <p:cNvSpPr/>
          <p:nvPr/>
        </p:nvSpPr>
        <p:spPr>
          <a:xfrm>
            <a:off x="3228513" y="2369190"/>
            <a:ext cx="2561031" cy="319357"/>
          </a:xfrm>
          <a:prstGeom prst="rect">
            <a:avLst/>
          </a:prstGeom>
          <a:solidFill>
            <a:srgbClr val="E2E2E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algn="ctr"/>
            <a:r>
              <a:rPr lang="ru-RU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евраль – </a:t>
            </a:r>
            <a:r>
              <a:rPr lang="ru-RU" sz="1200" i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рт </a:t>
            </a:r>
            <a:r>
              <a:rPr lang="ru-RU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0г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="" xmlns:a16="http://schemas.microsoft.com/office/drawing/2014/main" id="{176AD99B-2978-4EA9-8462-55E3956B47E8}"/>
              </a:ext>
            </a:extLst>
          </p:cNvPr>
          <p:cNvSpPr/>
          <p:nvPr/>
        </p:nvSpPr>
        <p:spPr>
          <a:xfrm>
            <a:off x="5820330" y="2369190"/>
            <a:ext cx="2937502" cy="319357"/>
          </a:xfrm>
          <a:prstGeom prst="rect">
            <a:avLst/>
          </a:prstGeom>
          <a:solidFill>
            <a:srgbClr val="E2E2E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algn="ctr"/>
            <a:r>
              <a:rPr lang="ru-RU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0г</a:t>
            </a:r>
          </a:p>
        </p:txBody>
      </p:sp>
      <p:sp>
        <p:nvSpPr>
          <p:cNvPr id="31" name="ValueChainStarter">
            <a:extLst>
              <a:ext uri="{FF2B5EF4-FFF2-40B4-BE49-F238E27FC236}">
                <a16:creationId xmlns="" xmlns:a16="http://schemas.microsoft.com/office/drawing/2014/main" id="{15C415DD-B468-48B0-A9C3-951612CE2892}"/>
              </a:ext>
            </a:extLst>
          </p:cNvPr>
          <p:cNvSpPr/>
          <p:nvPr/>
        </p:nvSpPr>
        <p:spPr bwMode="auto">
          <a:xfrm>
            <a:off x="641314" y="1842256"/>
            <a:ext cx="2711371" cy="510851"/>
          </a:xfrm>
          <a:prstGeom prst="chevron">
            <a:avLst>
              <a:gd name="adj" fmla="val 28571"/>
            </a:avLst>
          </a:prstGeom>
          <a:solidFill>
            <a:srgbClr val="AF1707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работка кода и </a:t>
            </a:r>
            <a:r>
              <a:rPr lang="ru-RU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терфейса системы </a:t>
            </a:r>
            <a:endParaRPr lang="ru-RU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ValueChainStarter">
            <a:extLst>
              <a:ext uri="{FF2B5EF4-FFF2-40B4-BE49-F238E27FC236}">
                <a16:creationId xmlns="" xmlns:a16="http://schemas.microsoft.com/office/drawing/2014/main" id="{8520B1D3-0B06-4743-A6EA-1526CD731C93}"/>
              </a:ext>
            </a:extLst>
          </p:cNvPr>
          <p:cNvSpPr/>
          <p:nvPr/>
        </p:nvSpPr>
        <p:spPr bwMode="auto">
          <a:xfrm>
            <a:off x="3228513" y="1842255"/>
            <a:ext cx="2711371" cy="510851"/>
          </a:xfrm>
          <a:prstGeom prst="chevron">
            <a:avLst>
              <a:gd name="adj" fmla="val 28571"/>
            </a:avLst>
          </a:prstGeom>
          <a:solidFill>
            <a:srgbClr val="AF1707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ытная эксплуатация системы </a:t>
            </a:r>
          </a:p>
        </p:txBody>
      </p:sp>
      <p:sp>
        <p:nvSpPr>
          <p:cNvPr id="33" name="ValueChainStarter">
            <a:extLst>
              <a:ext uri="{FF2B5EF4-FFF2-40B4-BE49-F238E27FC236}">
                <a16:creationId xmlns="" xmlns:a16="http://schemas.microsoft.com/office/drawing/2014/main" id="{5158CFED-CFDD-4A30-A37B-75A5AAB28678}"/>
              </a:ext>
            </a:extLst>
          </p:cNvPr>
          <p:cNvSpPr/>
          <p:nvPr/>
        </p:nvSpPr>
        <p:spPr bwMode="auto">
          <a:xfrm>
            <a:off x="5820330" y="1842255"/>
            <a:ext cx="3085171" cy="510851"/>
          </a:xfrm>
          <a:prstGeom prst="chevron">
            <a:avLst>
              <a:gd name="adj" fmla="val 28571"/>
            </a:avLst>
          </a:prstGeom>
          <a:solidFill>
            <a:srgbClr val="AF1707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ложение к использованию системы по запросу</a:t>
            </a:r>
          </a:p>
        </p:txBody>
      </p:sp>
      <p:sp>
        <p:nvSpPr>
          <p:cNvPr id="34" name="TextColumnContent">
            <a:extLst>
              <a:ext uri="{FF2B5EF4-FFF2-40B4-BE49-F238E27FC236}">
                <a16:creationId xmlns="" xmlns:a16="http://schemas.microsoft.com/office/drawing/2014/main" id="{CC69722C-B9A8-4202-98D5-7560733E92A0}"/>
              </a:ext>
            </a:extLst>
          </p:cNvPr>
          <p:cNvSpPr>
            <a:spLocks noChangeArrowheads="1"/>
          </p:cNvSpPr>
          <p:nvPr/>
        </p:nvSpPr>
        <p:spPr bwMode="gray">
          <a:xfrm>
            <a:off x="659370" y="2880656"/>
            <a:ext cx="2546666" cy="303929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AF1707"/>
            </a:solidFill>
            <a:miter lim="800000"/>
            <a:headEnd type="none" w="lg" len="lg"/>
            <a:tailEnd type="none" w="lg" len="lg"/>
          </a:ln>
          <a:effectLst/>
        </p:spPr>
        <p:txBody>
          <a:bodyPr lIns="0" tIns="0" rIns="0" bIns="0"/>
          <a:lstStyle/>
          <a:p>
            <a:pPr marL="269875" lvl="1" indent="-182563">
              <a:buFont typeface="+mj-lt"/>
              <a:buAutoNum type="arabicParenR"/>
            </a:pP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стигнуты договоренности с  Политехническим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лледжем 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овГУ о привлечении студентов на доработку кода и интерфейса системы </a:t>
            </a:r>
          </a:p>
          <a:p>
            <a:pPr marL="269875" lvl="1" indent="-182563">
              <a:buFont typeface="+mj-lt"/>
              <a:buAutoNum type="arabicParenR"/>
            </a:pP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инистерством здравоохранения Новгородской области разработано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ехническое 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дание на доработку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да, интерфейса системы, точности принадлежности отзывов свыше 90%</a:t>
            </a:r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69875" lvl="1" indent="-182563">
              <a:buFont typeface="+mj-lt"/>
              <a:buAutoNum type="arabicParenR"/>
            </a:pP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оработан код и интерфейс, проведена тестовая эксплуатация системы</a:t>
            </a:r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5" name="TextColumnContent">
            <a:extLst>
              <a:ext uri="{FF2B5EF4-FFF2-40B4-BE49-F238E27FC236}">
                <a16:creationId xmlns="" xmlns:a16="http://schemas.microsoft.com/office/drawing/2014/main" id="{44FE70FE-6866-4BE7-93CA-67197E3B77DF}"/>
              </a:ext>
            </a:extLst>
          </p:cNvPr>
          <p:cNvSpPr>
            <a:spLocks noChangeArrowheads="1"/>
          </p:cNvSpPr>
          <p:nvPr/>
        </p:nvSpPr>
        <p:spPr bwMode="gray">
          <a:xfrm>
            <a:off x="3247145" y="2880655"/>
            <a:ext cx="2546666" cy="303929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AF1707"/>
            </a:solidFill>
            <a:miter lim="800000"/>
            <a:headEnd type="none" w="lg" len="lg"/>
            <a:tailEnd type="none" w="lg" len="lg"/>
          </a:ln>
          <a:effectLst/>
        </p:spPr>
        <p:txBody>
          <a:bodyPr lIns="0" tIns="0" rIns="0" bIns="0"/>
          <a:lstStyle/>
          <a:p>
            <a:pPr marL="269875" lvl="1" indent="-182563">
              <a:buFont typeface="+mj-lt"/>
              <a:buAutoNum type="arabicParenR"/>
            </a:pP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инистерством здравоохранения Новгородской области проводится эксплуатация с обратной связью до разработчиков в целях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дообучения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истемы</a:t>
            </a:r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69875" lvl="1" indent="-182563">
              <a:buFont typeface="+mj-lt"/>
              <a:buAutoNum type="arabicParenR"/>
            </a:pP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работка системы при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еобходимости</a:t>
            </a:r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69875" lvl="1" indent="-182563">
              <a:buFont typeface="+mj-lt"/>
              <a:buAutoNum type="arabicParenR"/>
            </a:pP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Экспертная оценка работоспособности и эффективности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истемы специалистами министерства здравоохранения Новгородской области</a:t>
            </a:r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1" indent="-228600">
              <a:buFont typeface="+mj-lt"/>
              <a:buAutoNum type="arabicParenR"/>
            </a:pPr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6" name="TextColumnContent">
            <a:extLst>
              <a:ext uri="{FF2B5EF4-FFF2-40B4-BE49-F238E27FC236}">
                <a16:creationId xmlns="" xmlns:a16="http://schemas.microsoft.com/office/drawing/2014/main" id="{ACCDEBA8-EC82-4D6F-ACBD-C01CF93F040B}"/>
              </a:ext>
            </a:extLst>
          </p:cNvPr>
          <p:cNvSpPr>
            <a:spLocks noChangeArrowheads="1"/>
          </p:cNvSpPr>
          <p:nvPr/>
        </p:nvSpPr>
        <p:spPr bwMode="gray">
          <a:xfrm>
            <a:off x="5820330" y="2880656"/>
            <a:ext cx="2937502" cy="303929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AF1707"/>
            </a:solidFill>
            <a:miter lim="800000"/>
            <a:headEnd type="none" w="lg" len="lg"/>
            <a:tailEnd type="none" w="lg" len="lg"/>
          </a:ln>
          <a:effectLst/>
        </p:spPr>
        <p:txBody>
          <a:bodyPr lIns="0" tIns="0" rIns="0" bIns="0"/>
          <a:lstStyle/>
          <a:p>
            <a:pPr marL="342900" lvl="1" indent="-228600">
              <a:buClr>
                <a:schemeClr val="tx1"/>
              </a:buClr>
              <a:buFont typeface="+mj-lt"/>
              <a:buAutoNum type="arabicParenR"/>
            </a:pP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инистерство здравоохранения  Новгородской области предоставляет экспертную оценку, инструкции, методологию внедрения 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истемы, полученных результатов заинтересованным организациям.</a:t>
            </a:r>
          </a:p>
          <a:p>
            <a:pPr marL="114300" lvl="1">
              <a:buClr>
                <a:schemeClr val="tx2"/>
              </a:buClr>
            </a:pPr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Rectangle 37">
            <a:extLst>
              <a:ext uri="{FF2B5EF4-FFF2-40B4-BE49-F238E27FC236}">
                <a16:creationId xmlns="" xmlns:a16="http://schemas.microsoft.com/office/drawing/2014/main" id="{D30C79B1-C991-43F1-8846-C79EB04E7CB5}"/>
              </a:ext>
            </a:extLst>
          </p:cNvPr>
          <p:cNvSpPr>
            <a:spLocks noGrp="1" noChangeArrowheads="1"/>
          </p:cNvSpPr>
          <p:nvPr>
            <p:custDataLst>
              <p:tags r:id="rId1"/>
            </p:custDataLst>
          </p:nvPr>
        </p:nvSpPr>
        <p:spPr bwMode="gray">
          <a:xfrm>
            <a:off x="267019" y="3123795"/>
            <a:ext cx="389038" cy="2800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r>
              <a:rPr lang="en-US" sz="3000" dirty="0">
                <a:solidFill>
                  <a:srgbClr val="06C245"/>
                </a:solidFill>
                <a:latin typeface="Arial Unicode MS"/>
                <a:ea typeface="Arial Unicode MS"/>
                <a:cs typeface="Arial Unicode MS"/>
                <a:sym typeface="Arial Unicode MS"/>
              </a:rPr>
              <a:t>✓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="" xmlns:a16="http://schemas.microsoft.com/office/drawing/2014/main" id="{756F2A9F-E124-4BC8-BD11-A9F233B7FCA7}"/>
              </a:ext>
            </a:extLst>
          </p:cNvPr>
          <p:cNvSpPr>
            <a:spLocks noGrp="1" noChangeArrowheads="1"/>
          </p:cNvSpPr>
          <p:nvPr>
            <p:custDataLst>
              <p:tags r:id="rId2"/>
            </p:custDataLst>
          </p:nvPr>
        </p:nvSpPr>
        <p:spPr bwMode="gray">
          <a:xfrm>
            <a:off x="293956" y="4034527"/>
            <a:ext cx="389038" cy="2800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r>
              <a:rPr lang="en-US" sz="3000" dirty="0">
                <a:solidFill>
                  <a:srgbClr val="06C245"/>
                </a:solidFill>
                <a:latin typeface="Arial Unicode MS"/>
                <a:ea typeface="Arial Unicode MS"/>
                <a:cs typeface="Arial Unicode MS"/>
                <a:sym typeface="Arial Unicode MS"/>
              </a:rPr>
              <a:t>✓</a:t>
            </a:r>
          </a:p>
        </p:txBody>
      </p:sp>
      <p:sp>
        <p:nvSpPr>
          <p:cNvPr id="39" name="Прямоугольник 38">
            <a:extLst>
              <a:ext uri="{FF2B5EF4-FFF2-40B4-BE49-F238E27FC236}">
                <a16:creationId xmlns="" xmlns:a16="http://schemas.microsoft.com/office/drawing/2014/main" id="{42FCAF41-35EC-4C97-8BFE-4BDF8E7C828D}"/>
              </a:ext>
            </a:extLst>
          </p:cNvPr>
          <p:cNvSpPr/>
          <p:nvPr/>
        </p:nvSpPr>
        <p:spPr>
          <a:xfrm>
            <a:off x="1093100" y="6007691"/>
            <a:ext cx="7200000" cy="611615"/>
          </a:xfrm>
          <a:prstGeom prst="rect">
            <a:avLst/>
          </a:prstGeom>
          <a:solidFill>
            <a:srgbClr val="AF170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14300" lvl="1" algn="ctr">
              <a:buClr>
                <a:srgbClr val="C00000"/>
              </a:buClr>
            </a:pPr>
            <a:r>
              <a:rPr lang="ru-RU" sz="1600" dirty="0">
                <a:solidFill>
                  <a:schemeClr val="bg1"/>
                </a:solidFill>
              </a:rPr>
              <a:t>Для дальнейшей доработки кода и интерфейса необходимо получить от разработчика финальную версию кода решения</a:t>
            </a:r>
          </a:p>
        </p:txBody>
      </p:sp>
    </p:spTree>
    <p:extLst>
      <p:ext uri="{BB962C8B-B14F-4D97-AF65-F5344CB8AC3E}">
        <p14:creationId xmlns:p14="http://schemas.microsoft.com/office/powerpoint/2010/main" val="215589787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7500" y="263724"/>
            <a:ext cx="711200" cy="823920"/>
          </a:xfrm>
          <a:prstGeom prst="rect">
            <a:avLst/>
          </a:prstGeom>
        </p:spPr>
      </p:pic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603250" y="222047"/>
            <a:ext cx="1295400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5000" dirty="0">
                <a:solidFill>
                  <a:srgbClr val="F34840"/>
                </a:solidFill>
              </a:rPr>
              <a:t>12</a:t>
            </a:r>
          </a:p>
        </p:txBody>
      </p:sp>
      <p:sp>
        <p:nvSpPr>
          <p:cNvPr id="16" name="Заголовок 6">
            <a:extLst>
              <a:ext uri="{FF2B5EF4-FFF2-40B4-BE49-F238E27FC236}">
                <a16:creationId xmlns="" xmlns:a16="http://schemas.microsoft.com/office/drawing/2014/main" id="{D9E4398A-F57C-44F1-B6BC-5FE6C95B46E5}"/>
              </a:ext>
            </a:extLst>
          </p:cNvPr>
          <p:cNvSpPr txBox="1">
            <a:spLocks/>
          </p:cNvSpPr>
          <p:nvPr/>
        </p:nvSpPr>
        <p:spPr>
          <a:xfrm>
            <a:off x="756138" y="1360631"/>
            <a:ext cx="7536962" cy="507995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1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АКТЫ КОМАНДЫ</a:t>
            </a:r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2838451" y="479906"/>
            <a:ext cx="5276850" cy="267137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4400" kern="1200" dirty="0">
                <a:solidFill>
                  <a:srgbClr val="002060"/>
                </a:solidFill>
                <a:latin typeface="Fedra Sans Pro Bold" panose="020B08040400000200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ru-RU" sz="1400" spc="40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ПРАВИТЕЛЬСТВО НОВГОРОДСКОЙ ОБЛАСТИ</a:t>
            </a:r>
          </a:p>
          <a:p>
            <a:pPr algn="ctr"/>
            <a:r>
              <a:rPr lang="ru-RU" sz="1400" spc="40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Министерство здравоохранения Новгородской области</a:t>
            </a:r>
            <a:endParaRPr lang="ru-RU" sz="1400" spc="40" dirty="0">
              <a:solidFill>
                <a:srgbClr val="F348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FDFA8409-7F22-4964-81EE-A8070A1EB63B}"/>
              </a:ext>
            </a:extLst>
          </p:cNvPr>
          <p:cNvSpPr/>
          <p:nvPr/>
        </p:nvSpPr>
        <p:spPr>
          <a:xfrm>
            <a:off x="850900" y="1754326"/>
            <a:ext cx="8131175" cy="492703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Разработчик - Шаталин Игорь</a:t>
            </a:r>
          </a:p>
          <a:p>
            <a:endParaRPr lang="ru-RU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  <a:sym typeface="Arial"/>
            </a:endParaRPr>
          </a:p>
          <a:p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Почта: shatalin.ip@gmail.com</a:t>
            </a:r>
          </a:p>
          <a:p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Телефон: +7 (987) 655-67-79</a:t>
            </a:r>
          </a:p>
          <a:p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Проект: 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  <a:sym typeface="Arial"/>
                <a:hlinkClick r:id="rId3"/>
              </a:rPr>
              <a:t>http://95.163.211.65:8080/comments_sorted/2/70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  <a:sym typeface="Arial"/>
            </a:endParaRPr>
          </a:p>
          <a:p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  <a:sym typeface="Arial"/>
            </a:endParaRPr>
          </a:p>
          <a:p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  <a:sym typeface="Arial"/>
            </a:endParaRPr>
          </a:p>
          <a:p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Участники от региона:</a:t>
            </a:r>
          </a:p>
          <a:p>
            <a:endParaRPr lang="ru-RU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  <a:sym typeface="Arial"/>
            </a:endParaRPr>
          </a:p>
          <a:p>
            <a:pPr algn="just"/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Березина Руслана Александровна,</a:t>
            </a:r>
          </a:p>
          <a:p>
            <a:pPr algn="just"/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главный врач ГОБУЗ «Клинический центр медицинской реабилитации» </a:t>
            </a:r>
          </a:p>
          <a:p>
            <a:pPr algn="just"/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+7 (</a:t>
            </a: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8162) </a:t>
            </a:r>
            <a:r>
              <a:rPr 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636-003</a:t>
            </a:r>
            <a:r>
              <a:rPr lang="en-US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, </a:t>
            </a:r>
            <a:r>
              <a:rPr lang="en-US" smtClean="0">
                <a:latin typeface="Times New Roman" panose="02020603050405020304" pitchFamily="18" charset="0"/>
                <a:cs typeface="Times New Roman" panose="02020603050405020304" pitchFamily="18" charset="0"/>
                <a:sym typeface="Arial"/>
                <a:hlinkClick r:id="rId4"/>
              </a:rPr>
              <a:t>nov-mdc@yandex.ru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  <a:sym typeface="Arial"/>
            </a:endParaRPr>
          </a:p>
          <a:p>
            <a:pPr algn="just"/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Рязанцев Петр Петрович, </a:t>
            </a: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главный внештатный специалист министерства здравоохранения Новгородской области по внедрению современных информационных систем в здравоохранении</a:t>
            </a:r>
            <a:endParaRPr lang="ru-RU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  <a:sym typeface="Arial"/>
            </a:endParaRPr>
          </a:p>
          <a:p>
            <a:pPr algn="just"/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+7 (8162) </a:t>
            </a:r>
            <a:r>
              <a:rPr 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642-335, 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  <a:sym typeface="Arial"/>
                <a:hlinkClick r:id="rId5"/>
              </a:rPr>
              <a:t>searchnow@list.ru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  <a:sym typeface="Arial"/>
            </a:endParaRPr>
          </a:p>
          <a:p>
            <a:pPr algn="just"/>
            <a:endParaRPr lang="ru-RU" sz="2000" dirty="0">
              <a:solidFill>
                <a:schemeClr val="accent1"/>
              </a:solidFill>
              <a:latin typeface="Times New Roman" panose="02020603050405020304" pitchFamily="18" charset="0"/>
              <a:ea typeface="Open Sans" panose="020B0606030504020204" pitchFamily="34" charset="0"/>
              <a:cs typeface="Times New Roman" panose="02020603050405020304" pitchFamily="18" charset="0"/>
              <a:sym typeface="Arial"/>
            </a:endParaRPr>
          </a:p>
          <a:p>
            <a:endParaRPr lang="ru-RU" sz="2000" dirty="0">
              <a:solidFill>
                <a:schemeClr val="accent1"/>
              </a:solidFill>
              <a:latin typeface="Times New Roman" panose="02020603050405020304" pitchFamily="18" charset="0"/>
              <a:ea typeface="Open Sans" panose="020B0606030504020204" pitchFamily="34" charset="0"/>
              <a:cs typeface="Times New Roman" panose="02020603050405020304" pitchFamily="18" charset="0"/>
              <a:sym typeface="Arial"/>
            </a:endParaRPr>
          </a:p>
          <a:p>
            <a:pPr marL="571500" lvl="1" indent="-45720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ru-RU" sz="2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239427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7500" y="263724"/>
            <a:ext cx="711200" cy="823920"/>
          </a:xfrm>
          <a:prstGeom prst="rect">
            <a:avLst/>
          </a:prstGeom>
        </p:spPr>
      </p:pic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603250" y="222047"/>
            <a:ext cx="1295400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5000" dirty="0">
                <a:solidFill>
                  <a:srgbClr val="F34840"/>
                </a:solidFill>
              </a:rPr>
              <a:t>13</a:t>
            </a:r>
          </a:p>
        </p:txBody>
      </p:sp>
      <p:sp>
        <p:nvSpPr>
          <p:cNvPr id="24" name="Заголовок 1"/>
          <p:cNvSpPr txBox="1">
            <a:spLocks/>
          </p:cNvSpPr>
          <p:nvPr/>
        </p:nvSpPr>
        <p:spPr>
          <a:xfrm>
            <a:off x="2838451" y="479906"/>
            <a:ext cx="5276850" cy="267137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4400" kern="1200" dirty="0">
                <a:solidFill>
                  <a:srgbClr val="002060"/>
                </a:solidFill>
                <a:latin typeface="Fedra Sans Pro Bold" panose="020B08040400000200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ru-RU" sz="1400" spc="40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ПРАВИТЕЛЬСТВО НОВГОРОДСКОЙ ОБЛАСТИ</a:t>
            </a:r>
          </a:p>
          <a:p>
            <a:pPr algn="ctr"/>
            <a:r>
              <a:rPr lang="ru-RU" sz="1400" spc="40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Министерство здравоохранения Новгородской области</a:t>
            </a:r>
            <a:endParaRPr lang="ru-RU" sz="1400" spc="40" dirty="0">
              <a:solidFill>
                <a:srgbClr val="F348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" name="Группа 2">
            <a:extLst>
              <a:ext uri="{FF2B5EF4-FFF2-40B4-BE49-F238E27FC236}">
                <a16:creationId xmlns="" xmlns:a16="http://schemas.microsoft.com/office/drawing/2014/main" id="{B2084CA8-929F-426C-9F9A-36B88D653AE9}"/>
              </a:ext>
            </a:extLst>
          </p:cNvPr>
          <p:cNvGrpSpPr/>
          <p:nvPr/>
        </p:nvGrpSpPr>
        <p:grpSpPr>
          <a:xfrm>
            <a:off x="207817" y="1433779"/>
            <a:ext cx="8796441" cy="4967020"/>
            <a:chOff x="207817" y="1433779"/>
            <a:chExt cx="8796441" cy="4967020"/>
          </a:xfrm>
        </p:grpSpPr>
        <p:pic>
          <p:nvPicPr>
            <p:cNvPr id="18" name="Рисунок 17">
              <a:extLst>
                <a:ext uri="{FF2B5EF4-FFF2-40B4-BE49-F238E27FC236}">
                  <a16:creationId xmlns="" xmlns:a16="http://schemas.microsoft.com/office/drawing/2014/main" id="{BC29D85A-7961-1E4F-BA70-89C180D63C8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13981" t="20765" r="14845" b="17814"/>
            <a:stretch/>
          </p:blipFill>
          <p:spPr>
            <a:xfrm>
              <a:off x="207817" y="1656462"/>
              <a:ext cx="8796441" cy="4744337"/>
            </a:xfrm>
            <a:prstGeom prst="rect">
              <a:avLst/>
            </a:prstGeom>
          </p:spPr>
        </p:pic>
        <p:sp>
          <p:nvSpPr>
            <p:cNvPr id="2" name="Прямоугольник 1">
              <a:extLst>
                <a:ext uri="{FF2B5EF4-FFF2-40B4-BE49-F238E27FC236}">
                  <a16:creationId xmlns="" xmlns:a16="http://schemas.microsoft.com/office/drawing/2014/main" id="{1A716F19-876A-4758-9658-F32ED40FE853}"/>
                </a:ext>
              </a:extLst>
            </p:cNvPr>
            <p:cNvSpPr/>
            <p:nvPr/>
          </p:nvSpPr>
          <p:spPr>
            <a:xfrm>
              <a:off x="8236915" y="1433779"/>
              <a:ext cx="699268" cy="4754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" name="Прямоугольник 6">
              <a:extLst>
                <a:ext uri="{FF2B5EF4-FFF2-40B4-BE49-F238E27FC236}">
                  <a16:creationId xmlns="" xmlns:a16="http://schemas.microsoft.com/office/drawing/2014/main" id="{F13A4624-FA7D-425F-B184-EFE0261AA451}"/>
                </a:ext>
              </a:extLst>
            </p:cNvPr>
            <p:cNvSpPr/>
            <p:nvPr/>
          </p:nvSpPr>
          <p:spPr>
            <a:xfrm>
              <a:off x="8292347" y="4168445"/>
              <a:ext cx="699268" cy="4754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5472646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7500" y="263724"/>
            <a:ext cx="711200" cy="823920"/>
          </a:xfrm>
          <a:prstGeom prst="rect">
            <a:avLst/>
          </a:prstGeom>
        </p:spPr>
      </p:pic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603250" y="222047"/>
            <a:ext cx="1295400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5000" dirty="0">
                <a:solidFill>
                  <a:schemeClr val="bg2">
                    <a:lumMod val="75000"/>
                  </a:schemeClr>
                </a:solidFill>
              </a:rPr>
              <a:t>0</a:t>
            </a:r>
            <a:r>
              <a:rPr lang="ru-RU" altLang="ru-RU" sz="5000" dirty="0">
                <a:solidFill>
                  <a:srgbClr val="F34840"/>
                </a:solidFill>
              </a:rPr>
              <a:t>1</a:t>
            </a:r>
          </a:p>
        </p:txBody>
      </p:sp>
      <p:sp>
        <p:nvSpPr>
          <p:cNvPr id="16" name="Заголовок 6">
            <a:extLst>
              <a:ext uri="{FF2B5EF4-FFF2-40B4-BE49-F238E27FC236}">
                <a16:creationId xmlns="" xmlns:a16="http://schemas.microsoft.com/office/drawing/2014/main" id="{D9E4398A-F57C-44F1-B6BC-5FE6C95B46E5}"/>
              </a:ext>
            </a:extLst>
          </p:cNvPr>
          <p:cNvSpPr txBox="1">
            <a:spLocks/>
          </p:cNvSpPr>
          <p:nvPr/>
        </p:nvSpPr>
        <p:spPr>
          <a:xfrm>
            <a:off x="756138" y="1049435"/>
            <a:ext cx="7536962" cy="819192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1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Ь</a:t>
            </a:r>
          </a:p>
        </p:txBody>
      </p:sp>
      <p:sp>
        <p:nvSpPr>
          <p:cNvPr id="7" name="TextColumnContent">
            <a:extLst>
              <a:ext uri="{FF2B5EF4-FFF2-40B4-BE49-F238E27FC236}">
                <a16:creationId xmlns="" xmlns:a16="http://schemas.microsoft.com/office/drawing/2014/main" id="{64C57403-F0B4-42DE-A315-5C9086C5610F}"/>
              </a:ext>
            </a:extLst>
          </p:cNvPr>
          <p:cNvSpPr>
            <a:spLocks noChangeArrowheads="1"/>
          </p:cNvSpPr>
          <p:nvPr/>
        </p:nvSpPr>
        <p:spPr bwMode="gray">
          <a:xfrm>
            <a:off x="716383" y="1360632"/>
            <a:ext cx="8175825" cy="37084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pPr lvl="0">
              <a:buClr>
                <a:srgbClr val="C00000"/>
              </a:buClr>
            </a:pPr>
            <a:endParaRPr lang="en-US" sz="24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88975" lvl="2" indent="-285750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2838451" y="479906"/>
            <a:ext cx="5276850" cy="267137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4400" kern="1200" dirty="0">
                <a:solidFill>
                  <a:srgbClr val="002060"/>
                </a:solidFill>
                <a:latin typeface="Fedra Sans Pro Bold" panose="020B08040400000200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ru-RU" sz="1400" spc="40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ПРАВИТЕЛЬСТВО НОВГОРОДСКОЙ ОБЛАСТИ</a:t>
            </a:r>
          </a:p>
          <a:p>
            <a:pPr algn="ctr"/>
            <a:r>
              <a:rPr lang="ru-RU" sz="1400" spc="40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Министерство здравоохранения Новгородской области</a:t>
            </a:r>
            <a:endParaRPr lang="ru-RU" sz="1400" spc="40" dirty="0">
              <a:solidFill>
                <a:srgbClr val="F348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 descr="Попасть в яблочко">
            <a:extLst>
              <a:ext uri="{FF2B5EF4-FFF2-40B4-BE49-F238E27FC236}">
                <a16:creationId xmlns="" xmlns:a16="http://schemas.microsoft.com/office/drawing/2014/main" id="{2C56DB44-BAA5-49EA-AAAB-E3E8C07B37E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0653" y="2941828"/>
            <a:ext cx="2438401" cy="2438401"/>
          </a:xfrm>
          <a:prstGeom prst="rect">
            <a:avLst/>
          </a:prstGeom>
        </p:spPr>
      </p:pic>
      <p:sp>
        <p:nvSpPr>
          <p:cNvPr id="5" name="Выноска: линия 4">
            <a:extLst>
              <a:ext uri="{FF2B5EF4-FFF2-40B4-BE49-F238E27FC236}">
                <a16:creationId xmlns="" xmlns:a16="http://schemas.microsoft.com/office/drawing/2014/main" id="{8398332B-B250-4E1F-9087-8772DC8EE475}"/>
              </a:ext>
            </a:extLst>
          </p:cNvPr>
          <p:cNvSpPr/>
          <p:nvPr/>
        </p:nvSpPr>
        <p:spPr>
          <a:xfrm>
            <a:off x="5081744" y="2888672"/>
            <a:ext cx="3345873" cy="1517073"/>
          </a:xfrm>
          <a:prstGeom prst="borderCallout1">
            <a:avLst>
              <a:gd name="adj1" fmla="val 18750"/>
              <a:gd name="adj2" fmla="val -8333"/>
              <a:gd name="adj3" fmla="val 75970"/>
              <a:gd name="adj4" fmla="val -54068"/>
            </a:avLst>
          </a:prstGeom>
          <a:solidFill>
            <a:srgbClr val="E2E2E2"/>
          </a:solidFill>
          <a:ln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4300" lvl="1" algn="ctr">
              <a:buClr>
                <a:srgbClr val="C00000"/>
              </a:buClr>
            </a:pP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вышение </a:t>
            </a: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ровня удовлетворенности населения  качеством оказания медицинской помощи</a:t>
            </a:r>
            <a:endParaRPr lang="ru-RU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10639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7500" y="263724"/>
            <a:ext cx="711200" cy="823920"/>
          </a:xfrm>
          <a:prstGeom prst="rect">
            <a:avLst/>
          </a:prstGeom>
        </p:spPr>
      </p:pic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603250" y="222047"/>
            <a:ext cx="1295400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5000" dirty="0">
                <a:solidFill>
                  <a:schemeClr val="bg2">
                    <a:lumMod val="75000"/>
                  </a:schemeClr>
                </a:solidFill>
              </a:rPr>
              <a:t>0</a:t>
            </a:r>
            <a:r>
              <a:rPr lang="ru-RU" altLang="ru-RU" sz="5000" dirty="0">
                <a:solidFill>
                  <a:srgbClr val="F34840"/>
                </a:solidFill>
              </a:rPr>
              <a:t>2</a:t>
            </a:r>
          </a:p>
        </p:txBody>
      </p:sp>
      <p:sp>
        <p:nvSpPr>
          <p:cNvPr id="16" name="Заголовок 6">
            <a:extLst>
              <a:ext uri="{FF2B5EF4-FFF2-40B4-BE49-F238E27FC236}">
                <a16:creationId xmlns="" xmlns:a16="http://schemas.microsoft.com/office/drawing/2014/main" id="{D9E4398A-F57C-44F1-B6BC-5FE6C95B46E5}"/>
              </a:ext>
            </a:extLst>
          </p:cNvPr>
          <p:cNvSpPr txBox="1">
            <a:spLocks/>
          </p:cNvSpPr>
          <p:nvPr/>
        </p:nvSpPr>
        <p:spPr>
          <a:xfrm>
            <a:off x="756138" y="1049435"/>
            <a:ext cx="7536962" cy="819192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1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ФФЕКТЫ</a:t>
            </a:r>
          </a:p>
        </p:txBody>
      </p:sp>
      <p:sp>
        <p:nvSpPr>
          <p:cNvPr id="7" name="TextColumnContent">
            <a:extLst>
              <a:ext uri="{FF2B5EF4-FFF2-40B4-BE49-F238E27FC236}">
                <a16:creationId xmlns="" xmlns:a16="http://schemas.microsoft.com/office/drawing/2014/main" id="{64C57403-F0B4-42DE-A315-5C9086C5610F}"/>
              </a:ext>
            </a:extLst>
          </p:cNvPr>
          <p:cNvSpPr>
            <a:spLocks noChangeArrowheads="1"/>
          </p:cNvSpPr>
          <p:nvPr/>
        </p:nvSpPr>
        <p:spPr bwMode="gray">
          <a:xfrm>
            <a:off x="716383" y="1360632"/>
            <a:ext cx="8175825" cy="37084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pPr lvl="0">
              <a:buClr>
                <a:srgbClr val="C00000"/>
              </a:buClr>
            </a:pPr>
            <a:endParaRPr lang="en-US" sz="24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88975" lvl="2" indent="-285750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2838451" y="479906"/>
            <a:ext cx="5276850" cy="267137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4400" kern="1200" dirty="0">
                <a:solidFill>
                  <a:srgbClr val="002060"/>
                </a:solidFill>
                <a:latin typeface="Fedra Sans Pro Bold" panose="020B08040400000200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ru-RU" sz="1400" spc="40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ПРАВИТЕЛЬСТВО НОВГОРОДСКОЙ ОБЛАСТИ</a:t>
            </a:r>
          </a:p>
          <a:p>
            <a:pPr algn="ctr"/>
            <a:r>
              <a:rPr lang="ru-RU" sz="1400" spc="40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Министерство здравоохранения Новгородской области</a:t>
            </a:r>
            <a:endParaRPr lang="ru-RU" sz="1400" spc="40" dirty="0">
              <a:solidFill>
                <a:srgbClr val="F348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CE7E32F3-FCB3-43E1-90BD-815ED7C98055}"/>
              </a:ext>
            </a:extLst>
          </p:cNvPr>
          <p:cNvSpPr/>
          <p:nvPr/>
        </p:nvSpPr>
        <p:spPr>
          <a:xfrm>
            <a:off x="971550" y="1665516"/>
            <a:ext cx="7677150" cy="3009354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14300" lvl="1" algn="just">
              <a:buClr>
                <a:srgbClr val="C00000"/>
              </a:buClr>
            </a:pP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вышение удовлетворённости качеством медицинской помощи не менее, чем 10% по каждому из следующих показателей?</a:t>
            </a:r>
          </a:p>
          <a:p>
            <a:pPr marL="400050" lvl="1" indent="-285750" algn="just">
              <a:buClr>
                <a:srgbClr val="C00000"/>
              </a:buClr>
              <a:buFont typeface="Arial" pitchFamily="34" charset="0"/>
              <a:buChar char="•"/>
            </a:pP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ительность ожидания в регистратуре, на прием к врачу, при записи на лабораторные и (или) инструментальные исследования</a:t>
            </a:r>
          </a:p>
          <a:p>
            <a:pPr marL="400050" lvl="1" indent="-285750" algn="just">
              <a:buClr>
                <a:srgbClr val="C00000"/>
              </a:buClr>
              <a:buFont typeface="Arial" pitchFamily="34" charset="0"/>
              <a:buChar char="•"/>
            </a:pP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довлетворённость работой врачей</a:t>
            </a:r>
          </a:p>
          <a:p>
            <a:pPr marL="400050" lvl="1" indent="-285750" algn="just">
              <a:buClr>
                <a:srgbClr val="C00000"/>
              </a:buClr>
              <a:buFont typeface="Arial" pitchFamily="34" charset="0"/>
              <a:buChar char="•"/>
            </a:pP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ступность врачей-специалистов</a:t>
            </a:r>
          </a:p>
          <a:p>
            <a:pPr marL="400050" lvl="1" indent="-285750" algn="just">
              <a:buClr>
                <a:srgbClr val="C00000"/>
              </a:buClr>
              <a:buFont typeface="Arial" pitchFamily="34" charset="0"/>
              <a:buChar char="•"/>
            </a:pP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ровень технического оснащения медицинских учреждений</a:t>
            </a:r>
          </a:p>
          <a:p>
            <a:pPr marL="400050" lvl="1" indent="-285750" algn="just">
              <a:buClr>
                <a:srgbClr val="C00000"/>
              </a:buClr>
              <a:buFont typeface="Arial" pitchFamily="34" charset="0"/>
              <a:buChar char="•"/>
            </a:pP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ровень удовлетворённости питанием</a:t>
            </a:r>
          </a:p>
          <a:p>
            <a:pPr marL="400050" lvl="1" indent="-285750" algn="just">
              <a:buClr>
                <a:srgbClr val="C00000"/>
              </a:buClr>
              <a:buFont typeface="Arial" pitchFamily="34" charset="0"/>
              <a:buChar char="•"/>
            </a:pP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ровень обеспеченности лекарственными средствами и изделиями медицинского назначения, расходными материалами</a:t>
            </a:r>
          </a:p>
          <a:p>
            <a:pPr marL="400050" lvl="1" indent="-285750" algn="just">
              <a:buClr>
                <a:srgbClr val="C00000"/>
              </a:buClr>
              <a:buFont typeface="Arial" pitchFamily="34" charset="0"/>
              <a:buChar char="•"/>
            </a:pP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ровень оснащённости учреждения лечебно-диагностическим и материально-бытовым оборудованием</a:t>
            </a:r>
          </a:p>
          <a:p>
            <a:pPr marL="114300" lvl="1" algn="just">
              <a:buClr>
                <a:srgbClr val="C00000"/>
              </a:buClr>
            </a:pP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росы проводятся в медицинских организациях Новгородской области на основании Приказа Федерального ОМС от 29 мая 2009 года №118</a:t>
            </a:r>
          </a:p>
          <a:p>
            <a:pPr marL="400050" lvl="1" indent="-285750" algn="just">
              <a:buClr>
                <a:srgbClr val="C00000"/>
              </a:buClr>
              <a:buFont typeface="Arial" pitchFamily="34" charset="0"/>
              <a:buChar char="•"/>
            </a:pPr>
            <a:endParaRPr lang="ru-RU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Овал 11">
            <a:extLst>
              <a:ext uri="{FF2B5EF4-FFF2-40B4-BE49-F238E27FC236}">
                <a16:creationId xmlns="" xmlns:a16="http://schemas.microsoft.com/office/drawing/2014/main" id="{B0E1BC99-967C-4027-965E-6A08673CD080}"/>
              </a:ext>
            </a:extLst>
          </p:cNvPr>
          <p:cNvSpPr/>
          <p:nvPr/>
        </p:nvSpPr>
        <p:spPr>
          <a:xfrm>
            <a:off x="810461" y="1567371"/>
            <a:ext cx="322177" cy="30125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1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="" xmlns:a16="http://schemas.microsoft.com/office/drawing/2014/main" id="{39362D2D-0FFC-4D7D-BEC3-829928DA5BDC}"/>
              </a:ext>
            </a:extLst>
          </p:cNvPr>
          <p:cNvSpPr/>
          <p:nvPr/>
        </p:nvSpPr>
        <p:spPr>
          <a:xfrm>
            <a:off x="971551" y="6269888"/>
            <a:ext cx="7657984" cy="270000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14300" lvl="1" algn="just">
              <a:buClr>
                <a:srgbClr val="C00000"/>
              </a:buClr>
            </a:pP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свенное влияние </a:t>
            </a:r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реализацию </a:t>
            </a: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ционального </a:t>
            </a:r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а «Здравоохранение</a:t>
            </a: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 и «Демография»</a:t>
            </a:r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="" xmlns:a16="http://schemas.microsoft.com/office/drawing/2014/main" id="{39362D2D-0FFC-4D7D-BEC3-829928DA5BDC}"/>
              </a:ext>
            </a:extLst>
          </p:cNvPr>
          <p:cNvSpPr/>
          <p:nvPr/>
        </p:nvSpPr>
        <p:spPr>
          <a:xfrm>
            <a:off x="971551" y="4934266"/>
            <a:ext cx="7657984" cy="1135064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14300" lvl="1" algn="just">
              <a:buClr>
                <a:srgbClr val="C00000"/>
              </a:buClr>
            </a:pP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вышение места медицинских организаций Новгородской области в Федеральном Рейтинге «Независимая оценка качества условий оказания услуг медицинскими организациями» на основе Приказа Министерства здравоохранения Российской Федерации от 4 мая 2018 г. №221 «об организации работ по независимой оценке качества условий оказания услуг медицинскими организациями»</a:t>
            </a:r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Овал 18">
            <a:extLst>
              <a:ext uri="{FF2B5EF4-FFF2-40B4-BE49-F238E27FC236}">
                <a16:creationId xmlns="" xmlns:a16="http://schemas.microsoft.com/office/drawing/2014/main" id="{B0E1BC99-967C-4027-965E-6A08673CD080}"/>
              </a:ext>
            </a:extLst>
          </p:cNvPr>
          <p:cNvSpPr/>
          <p:nvPr/>
        </p:nvSpPr>
        <p:spPr>
          <a:xfrm>
            <a:off x="767183" y="4783638"/>
            <a:ext cx="322177" cy="30125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2</a:t>
            </a:r>
          </a:p>
        </p:txBody>
      </p:sp>
      <p:sp>
        <p:nvSpPr>
          <p:cNvPr id="20" name="Овал 19">
            <a:extLst>
              <a:ext uri="{FF2B5EF4-FFF2-40B4-BE49-F238E27FC236}">
                <a16:creationId xmlns="" xmlns:a16="http://schemas.microsoft.com/office/drawing/2014/main" id="{B0E1BC99-967C-4027-965E-6A08673CD080}"/>
              </a:ext>
            </a:extLst>
          </p:cNvPr>
          <p:cNvSpPr/>
          <p:nvPr/>
        </p:nvSpPr>
        <p:spPr>
          <a:xfrm>
            <a:off x="767183" y="6119260"/>
            <a:ext cx="322177" cy="30125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3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42550710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Прямоугольник 27">
            <a:extLst>
              <a:ext uri="{FF2B5EF4-FFF2-40B4-BE49-F238E27FC236}">
                <a16:creationId xmlns="" xmlns:a16="http://schemas.microsoft.com/office/drawing/2014/main" id="{8889A95E-ADAB-4EE5-9AE4-ADD63CD30379}"/>
              </a:ext>
            </a:extLst>
          </p:cNvPr>
          <p:cNvSpPr/>
          <p:nvPr/>
        </p:nvSpPr>
        <p:spPr>
          <a:xfrm>
            <a:off x="3598193" y="4867758"/>
            <a:ext cx="4846371" cy="575388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14300" lvl="1">
              <a:buClr>
                <a:srgbClr val="C00000"/>
              </a:buClr>
            </a:pPr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нистерство транспорта, дорожного хозяйства и цифрового развития Новгородской области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="" xmlns:a16="http://schemas.microsoft.com/office/drawing/2014/main" id="{7B010466-0ECC-4DE9-A2DE-BEFD34D7C08E}"/>
              </a:ext>
            </a:extLst>
          </p:cNvPr>
          <p:cNvSpPr/>
          <p:nvPr/>
        </p:nvSpPr>
        <p:spPr>
          <a:xfrm>
            <a:off x="3598194" y="4157521"/>
            <a:ext cx="4846371" cy="575388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НО «Агентство </a:t>
            </a:r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атегических </a:t>
            </a: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ициатив по продвижению новых проектов»</a:t>
            </a:r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7500" y="263724"/>
            <a:ext cx="711200" cy="823920"/>
          </a:xfrm>
          <a:prstGeom prst="rect">
            <a:avLst/>
          </a:prstGeom>
        </p:spPr>
      </p:pic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603250" y="222047"/>
            <a:ext cx="1295400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5000" dirty="0">
                <a:solidFill>
                  <a:schemeClr val="bg2">
                    <a:lumMod val="75000"/>
                  </a:schemeClr>
                </a:solidFill>
              </a:rPr>
              <a:t>0</a:t>
            </a:r>
            <a:r>
              <a:rPr lang="ru-RU" altLang="ru-RU" sz="5000" dirty="0">
                <a:solidFill>
                  <a:srgbClr val="F34840"/>
                </a:solidFill>
              </a:rPr>
              <a:t>3</a:t>
            </a:r>
          </a:p>
        </p:txBody>
      </p:sp>
      <p:sp>
        <p:nvSpPr>
          <p:cNvPr id="16" name="Заголовок 6">
            <a:extLst>
              <a:ext uri="{FF2B5EF4-FFF2-40B4-BE49-F238E27FC236}">
                <a16:creationId xmlns="" xmlns:a16="http://schemas.microsoft.com/office/drawing/2014/main" id="{D9E4398A-F57C-44F1-B6BC-5FE6C95B46E5}"/>
              </a:ext>
            </a:extLst>
          </p:cNvPr>
          <p:cNvSpPr txBox="1">
            <a:spLocks/>
          </p:cNvSpPr>
          <p:nvPr/>
        </p:nvSpPr>
        <p:spPr>
          <a:xfrm>
            <a:off x="756138" y="1049435"/>
            <a:ext cx="7536962" cy="819192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1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ЗАЦИОННАЯ МОДЕЛЬ</a:t>
            </a:r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2838451" y="479906"/>
            <a:ext cx="5276850" cy="267137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4400" kern="1200" dirty="0">
                <a:solidFill>
                  <a:srgbClr val="002060"/>
                </a:solidFill>
                <a:latin typeface="Fedra Sans Pro Bold" panose="020B08040400000200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ru-RU" sz="1400" spc="40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ПРАВИТЕЛЬСТВО НОВГОРОДСКОЙ ОБЛАСТИ</a:t>
            </a:r>
          </a:p>
          <a:p>
            <a:pPr algn="ctr"/>
            <a:r>
              <a:rPr lang="ru-RU" sz="1400" spc="40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Министерство здравоохранения Новгородской области</a:t>
            </a:r>
            <a:endParaRPr lang="ru-RU" sz="1400" spc="40" dirty="0">
              <a:solidFill>
                <a:srgbClr val="F348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 descr="Социальная сеть">
            <a:extLst>
              <a:ext uri="{FF2B5EF4-FFF2-40B4-BE49-F238E27FC236}">
                <a16:creationId xmlns="" xmlns:a16="http://schemas.microsoft.com/office/drawing/2014/main" id="{BAC774C8-2995-48AB-947E-C7D08909BDB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56138" y="2236307"/>
            <a:ext cx="2465044" cy="2465044"/>
          </a:xfrm>
          <a:prstGeom prst="rect">
            <a:avLst/>
          </a:prstGeom>
        </p:spPr>
      </p:pic>
      <p:graphicFrame>
        <p:nvGraphicFramePr>
          <p:cNvPr id="12" name="Таблица 82">
            <a:extLst>
              <a:ext uri="{FF2B5EF4-FFF2-40B4-BE49-F238E27FC236}">
                <a16:creationId xmlns="" xmlns:a16="http://schemas.microsoft.com/office/drawing/2014/main" id="{D89F8189-D023-4962-A6F9-7BEDB9DBFD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5837191"/>
              </p:ext>
            </p:extLst>
          </p:nvPr>
        </p:nvGraphicFramePr>
        <p:xfrm>
          <a:off x="3599617" y="1776587"/>
          <a:ext cx="4846371" cy="276889"/>
        </p:xfrm>
        <a:graphic>
          <a:graphicData uri="http://schemas.openxmlformats.org/drawingml/2006/table">
            <a:tbl>
              <a:tblPr firstRow="1" firstCol="1" bandRow="1">
                <a:tableStyleId>{0E3FDE45-AF77-4B5C-9715-49D594BDF05E}</a:tableStyleId>
              </a:tblPr>
              <a:tblGrid>
                <a:gridCol w="4846371">
                  <a:extLst>
                    <a:ext uri="{9D8B030D-6E8A-4147-A177-3AD203B41FA5}">
                      <a16:colId xmlns="" xmlns:a16="http://schemas.microsoft.com/office/drawing/2014/main" val="1555315948"/>
                    </a:ext>
                  </a:extLst>
                </a:gridCol>
              </a:tblGrid>
              <a:tr h="27688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effectLst/>
                        </a:rPr>
                        <a:t> </a:t>
                      </a:r>
                      <a:r>
                        <a:rPr lang="ru-RU" sz="14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исок реципиентов:</a:t>
                      </a:r>
                    </a:p>
                  </a:txBody>
                  <a:tcPr marL="30784" marR="30784" marT="3264" marB="3264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5" name="Прямоугольник 14">
            <a:extLst>
              <a:ext uri="{FF2B5EF4-FFF2-40B4-BE49-F238E27FC236}">
                <a16:creationId xmlns="" xmlns:a16="http://schemas.microsoft.com/office/drawing/2014/main" id="{3FF4364F-C815-4925-B7B7-D480A85A326C}"/>
              </a:ext>
            </a:extLst>
          </p:cNvPr>
          <p:cNvSpPr/>
          <p:nvPr/>
        </p:nvSpPr>
        <p:spPr>
          <a:xfrm>
            <a:off x="3598195" y="2167031"/>
            <a:ext cx="4846371" cy="575388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нистерство здравоохранения Новгородской области</a:t>
            </a:r>
          </a:p>
        </p:txBody>
      </p:sp>
      <p:sp>
        <p:nvSpPr>
          <p:cNvPr id="17" name="Овал 16">
            <a:extLst>
              <a:ext uri="{FF2B5EF4-FFF2-40B4-BE49-F238E27FC236}">
                <a16:creationId xmlns="" xmlns:a16="http://schemas.microsoft.com/office/drawing/2014/main" id="{1593FC0F-3786-4768-A7D7-056733986D3C}"/>
              </a:ext>
            </a:extLst>
          </p:cNvPr>
          <p:cNvSpPr/>
          <p:nvPr/>
        </p:nvSpPr>
        <p:spPr>
          <a:xfrm>
            <a:off x="3313785" y="2085867"/>
            <a:ext cx="322177" cy="30125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1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="" xmlns:a16="http://schemas.microsoft.com/office/drawing/2014/main" id="{2593926B-7174-417F-BBD8-8A1C44FDBC97}"/>
              </a:ext>
            </a:extLst>
          </p:cNvPr>
          <p:cNvSpPr/>
          <p:nvPr/>
        </p:nvSpPr>
        <p:spPr>
          <a:xfrm>
            <a:off x="3598195" y="2876952"/>
            <a:ext cx="4846371" cy="575388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дицинские </a:t>
            </a: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и </a:t>
            </a:r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овгородской области</a:t>
            </a:r>
          </a:p>
        </p:txBody>
      </p:sp>
      <p:sp>
        <p:nvSpPr>
          <p:cNvPr id="19" name="Овал 18">
            <a:extLst>
              <a:ext uri="{FF2B5EF4-FFF2-40B4-BE49-F238E27FC236}">
                <a16:creationId xmlns="" xmlns:a16="http://schemas.microsoft.com/office/drawing/2014/main" id="{E64CF137-7D00-49B9-BA77-F7F7081F52ED}"/>
              </a:ext>
            </a:extLst>
          </p:cNvPr>
          <p:cNvSpPr/>
          <p:nvPr/>
        </p:nvSpPr>
        <p:spPr>
          <a:xfrm>
            <a:off x="3313785" y="2795788"/>
            <a:ext cx="322177" cy="30125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2</a:t>
            </a:r>
          </a:p>
        </p:txBody>
      </p:sp>
      <p:graphicFrame>
        <p:nvGraphicFramePr>
          <p:cNvPr id="20" name="Таблица 82">
            <a:extLst>
              <a:ext uri="{FF2B5EF4-FFF2-40B4-BE49-F238E27FC236}">
                <a16:creationId xmlns="" xmlns:a16="http://schemas.microsoft.com/office/drawing/2014/main" id="{C3668EF0-C691-4F1A-BD38-104C0ACA67A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6957871"/>
              </p:ext>
            </p:extLst>
          </p:nvPr>
        </p:nvGraphicFramePr>
        <p:xfrm>
          <a:off x="3599617" y="3756588"/>
          <a:ext cx="4846371" cy="276889"/>
        </p:xfrm>
        <a:graphic>
          <a:graphicData uri="http://schemas.openxmlformats.org/drawingml/2006/table">
            <a:tbl>
              <a:tblPr firstRow="1" firstCol="1" bandRow="1">
                <a:tableStyleId>{0E3FDE45-AF77-4B5C-9715-49D594BDF05E}</a:tableStyleId>
              </a:tblPr>
              <a:tblGrid>
                <a:gridCol w="4846371">
                  <a:extLst>
                    <a:ext uri="{9D8B030D-6E8A-4147-A177-3AD203B41FA5}">
                      <a16:colId xmlns="" xmlns:a16="http://schemas.microsoft.com/office/drawing/2014/main" val="1555315948"/>
                    </a:ext>
                  </a:extLst>
                </a:gridCol>
              </a:tblGrid>
              <a:tr h="27688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effectLst/>
                        </a:rPr>
                        <a:t> </a:t>
                      </a:r>
                      <a:r>
                        <a:rPr lang="ru-RU" sz="14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исок акцепторов:</a:t>
                      </a:r>
                    </a:p>
                  </a:txBody>
                  <a:tcPr marL="30784" marR="30784" marT="3264" marB="3264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2" name="Овал 21">
            <a:extLst>
              <a:ext uri="{FF2B5EF4-FFF2-40B4-BE49-F238E27FC236}">
                <a16:creationId xmlns="" xmlns:a16="http://schemas.microsoft.com/office/drawing/2014/main" id="{FE5B7E09-B069-4BCC-9D09-23918C23388E}"/>
              </a:ext>
            </a:extLst>
          </p:cNvPr>
          <p:cNvSpPr/>
          <p:nvPr/>
        </p:nvSpPr>
        <p:spPr>
          <a:xfrm>
            <a:off x="3313785" y="4065868"/>
            <a:ext cx="322177" cy="30125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1</a:t>
            </a:r>
          </a:p>
        </p:txBody>
      </p:sp>
      <p:sp>
        <p:nvSpPr>
          <p:cNvPr id="24" name="Овал 23">
            <a:extLst>
              <a:ext uri="{FF2B5EF4-FFF2-40B4-BE49-F238E27FC236}">
                <a16:creationId xmlns="" xmlns:a16="http://schemas.microsoft.com/office/drawing/2014/main" id="{3AF7BFE2-C12D-413F-BB21-6CE554DF37F3}"/>
              </a:ext>
            </a:extLst>
          </p:cNvPr>
          <p:cNvSpPr/>
          <p:nvPr/>
        </p:nvSpPr>
        <p:spPr>
          <a:xfrm>
            <a:off x="3313785" y="4775789"/>
            <a:ext cx="322177" cy="30125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8873755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7500" y="263724"/>
            <a:ext cx="711200" cy="823920"/>
          </a:xfrm>
          <a:prstGeom prst="rect">
            <a:avLst/>
          </a:prstGeom>
        </p:spPr>
      </p:pic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603250" y="222047"/>
            <a:ext cx="1295400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5000" dirty="0">
                <a:solidFill>
                  <a:schemeClr val="bg2">
                    <a:lumMod val="75000"/>
                  </a:schemeClr>
                </a:solidFill>
              </a:rPr>
              <a:t>0</a:t>
            </a:r>
            <a:r>
              <a:rPr lang="ru-RU" altLang="ru-RU" sz="5000" dirty="0">
                <a:solidFill>
                  <a:srgbClr val="F34840"/>
                </a:solidFill>
              </a:rPr>
              <a:t>4</a:t>
            </a:r>
          </a:p>
        </p:txBody>
      </p:sp>
      <p:sp>
        <p:nvSpPr>
          <p:cNvPr id="16" name="Заголовок 6">
            <a:extLst>
              <a:ext uri="{FF2B5EF4-FFF2-40B4-BE49-F238E27FC236}">
                <a16:creationId xmlns="" xmlns:a16="http://schemas.microsoft.com/office/drawing/2014/main" id="{D9E4398A-F57C-44F1-B6BC-5FE6C95B46E5}"/>
              </a:ext>
            </a:extLst>
          </p:cNvPr>
          <p:cNvSpPr txBox="1">
            <a:spLocks/>
          </p:cNvSpPr>
          <p:nvPr/>
        </p:nvSpPr>
        <p:spPr>
          <a:xfrm>
            <a:off x="663829" y="1211576"/>
            <a:ext cx="7536962" cy="819192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1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АЧИ</a:t>
            </a:r>
          </a:p>
        </p:txBody>
      </p:sp>
      <p:sp>
        <p:nvSpPr>
          <p:cNvPr id="7" name="TextColumnContent">
            <a:extLst>
              <a:ext uri="{FF2B5EF4-FFF2-40B4-BE49-F238E27FC236}">
                <a16:creationId xmlns="" xmlns:a16="http://schemas.microsoft.com/office/drawing/2014/main" id="{64C57403-F0B4-42DE-A315-5C9086C5610F}"/>
              </a:ext>
            </a:extLst>
          </p:cNvPr>
          <p:cNvSpPr>
            <a:spLocks noChangeArrowheads="1"/>
          </p:cNvSpPr>
          <p:nvPr/>
        </p:nvSpPr>
        <p:spPr bwMode="gray">
          <a:xfrm>
            <a:off x="716383" y="1360632"/>
            <a:ext cx="8175825" cy="37084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pPr lvl="0">
              <a:buClr>
                <a:srgbClr val="C00000"/>
              </a:buClr>
            </a:pPr>
            <a:endParaRPr lang="en-US" sz="24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88975" lvl="2" indent="-285750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2838451" y="479906"/>
            <a:ext cx="5276850" cy="267137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4400" kern="1200" dirty="0">
                <a:solidFill>
                  <a:srgbClr val="002060"/>
                </a:solidFill>
                <a:latin typeface="Fedra Sans Pro Bold" panose="020B08040400000200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ru-RU" sz="1400" spc="40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ПРАВИТЕЛЬСТВО НОВГОРОДСКОЙ ОБЛАСТИ</a:t>
            </a:r>
          </a:p>
          <a:p>
            <a:pPr algn="ctr"/>
            <a:r>
              <a:rPr lang="ru-RU" sz="1400" spc="40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Министерство здравоохранения Новгородской области</a:t>
            </a:r>
            <a:endParaRPr lang="ru-RU" sz="1400" spc="40" dirty="0">
              <a:solidFill>
                <a:srgbClr val="F348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34BA5582-E071-4DCC-8942-FD503A59961A}"/>
              </a:ext>
            </a:extLst>
          </p:cNvPr>
          <p:cNvSpPr/>
          <p:nvPr/>
        </p:nvSpPr>
        <p:spPr>
          <a:xfrm>
            <a:off x="1000791" y="3429000"/>
            <a:ext cx="7200000" cy="1080000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14300" lvl="1" algn="just">
              <a:buClr>
                <a:srgbClr val="C00000"/>
              </a:buClr>
            </a:pP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шение </a:t>
            </a: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лжно способствовать выявлению причин неудовлетворённости населения качеством оказания медицинской </a:t>
            </a: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мощи</a:t>
            </a:r>
            <a:endParaRPr lang="ru-RU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14300" lvl="1" algn="just">
              <a:buClr>
                <a:srgbClr val="C00000"/>
              </a:buClr>
            </a:pPr>
            <a:endParaRPr lang="ru-RU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D560A54F-16B6-4AC3-A5B0-C3A93039FDDF}"/>
              </a:ext>
            </a:extLst>
          </p:cNvPr>
          <p:cNvSpPr/>
          <p:nvPr/>
        </p:nvSpPr>
        <p:spPr>
          <a:xfrm>
            <a:off x="1016303" y="2120627"/>
            <a:ext cx="7200000" cy="1080000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0488"/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шение должно </a:t>
            </a: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пособствовать выявлению негативных отзывов </a:t>
            </a: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ациентов о качестве оказания </a:t>
            </a: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дицинской помощи </a:t>
            </a: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основе анализа данных открытых </a:t>
            </a: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тернет-источников</a:t>
            </a:r>
            <a:endParaRPr lang="ru-RU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Овал 11">
            <a:extLst>
              <a:ext uri="{FF2B5EF4-FFF2-40B4-BE49-F238E27FC236}">
                <a16:creationId xmlns="" xmlns:a16="http://schemas.microsoft.com/office/drawing/2014/main" id="{FF2124D7-FAAE-4292-8F51-7C80C4412D5C}"/>
              </a:ext>
            </a:extLst>
          </p:cNvPr>
          <p:cNvSpPr/>
          <p:nvPr/>
        </p:nvSpPr>
        <p:spPr>
          <a:xfrm>
            <a:off x="731894" y="2028974"/>
            <a:ext cx="322177" cy="30125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1</a:t>
            </a:r>
          </a:p>
        </p:txBody>
      </p:sp>
      <p:sp>
        <p:nvSpPr>
          <p:cNvPr id="15" name="Овал 14">
            <a:extLst>
              <a:ext uri="{FF2B5EF4-FFF2-40B4-BE49-F238E27FC236}">
                <a16:creationId xmlns="" xmlns:a16="http://schemas.microsoft.com/office/drawing/2014/main" id="{A4B9D8DF-AB41-4732-B5CD-F63BF0749907}"/>
              </a:ext>
            </a:extLst>
          </p:cNvPr>
          <p:cNvSpPr/>
          <p:nvPr/>
        </p:nvSpPr>
        <p:spPr>
          <a:xfrm>
            <a:off x="716383" y="3337031"/>
            <a:ext cx="322177" cy="30125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2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="" xmlns:a16="http://schemas.microsoft.com/office/drawing/2014/main" id="{CC5B4478-7A13-4F18-A780-4B59B9B85EAE}"/>
              </a:ext>
            </a:extLst>
          </p:cNvPr>
          <p:cNvSpPr/>
          <p:nvPr/>
        </p:nvSpPr>
        <p:spPr>
          <a:xfrm>
            <a:off x="1000791" y="4802020"/>
            <a:ext cx="7200000" cy="1080000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14300" lvl="1" algn="just">
              <a:buClr>
                <a:srgbClr val="C00000"/>
              </a:buClr>
            </a:pP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шение должно способствовать принятию мер по </a:t>
            </a: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вышению уровня </a:t>
            </a: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довлетворенности населения медицинской помощью</a:t>
            </a:r>
          </a:p>
        </p:txBody>
      </p:sp>
      <p:sp>
        <p:nvSpPr>
          <p:cNvPr id="18" name="Овал 17">
            <a:extLst>
              <a:ext uri="{FF2B5EF4-FFF2-40B4-BE49-F238E27FC236}">
                <a16:creationId xmlns="" xmlns:a16="http://schemas.microsoft.com/office/drawing/2014/main" id="{594DE35F-3012-4148-A349-A51219895FB2}"/>
              </a:ext>
            </a:extLst>
          </p:cNvPr>
          <p:cNvSpPr/>
          <p:nvPr/>
        </p:nvSpPr>
        <p:spPr>
          <a:xfrm>
            <a:off x="716383" y="4710051"/>
            <a:ext cx="322177" cy="30125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7092183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7500" y="263724"/>
            <a:ext cx="711200" cy="823920"/>
          </a:xfrm>
          <a:prstGeom prst="rect">
            <a:avLst/>
          </a:prstGeom>
        </p:spPr>
      </p:pic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603250" y="222047"/>
            <a:ext cx="1295400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5000" dirty="0">
                <a:solidFill>
                  <a:schemeClr val="bg2">
                    <a:lumMod val="75000"/>
                  </a:schemeClr>
                </a:solidFill>
              </a:rPr>
              <a:t>0</a:t>
            </a:r>
            <a:r>
              <a:rPr lang="ru-RU" altLang="ru-RU" sz="5000" dirty="0">
                <a:solidFill>
                  <a:srgbClr val="F34840"/>
                </a:solidFill>
              </a:rPr>
              <a:t>5</a:t>
            </a:r>
          </a:p>
        </p:txBody>
      </p:sp>
      <p:sp>
        <p:nvSpPr>
          <p:cNvPr id="10" name="ValueChainStarter">
            <a:extLst>
              <a:ext uri="{FF2B5EF4-FFF2-40B4-BE49-F238E27FC236}">
                <a16:creationId xmlns="" xmlns:a16="http://schemas.microsoft.com/office/drawing/2014/main" id="{228FA26C-A392-488F-8EA1-9D8E52330BE9}"/>
              </a:ext>
            </a:extLst>
          </p:cNvPr>
          <p:cNvSpPr/>
          <p:nvPr/>
        </p:nvSpPr>
        <p:spPr bwMode="auto">
          <a:xfrm>
            <a:off x="3254457" y="1880212"/>
            <a:ext cx="2520000" cy="707314"/>
          </a:xfrm>
          <a:prstGeom prst="chevron">
            <a:avLst>
              <a:gd name="adj" fmla="val 28571"/>
            </a:avLst>
          </a:prstGeom>
          <a:solidFill>
            <a:srgbClr val="AF1707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ru-RU" sz="16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шение </a:t>
            </a:r>
          </a:p>
          <a:p>
            <a:pPr lvl="0" algn="ctr"/>
            <a:r>
              <a:rPr lang="ru-RU" sz="16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блемы</a:t>
            </a:r>
            <a:endParaRPr lang="de-DE" sz="16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ValueChainStarter">
            <a:extLst>
              <a:ext uri="{FF2B5EF4-FFF2-40B4-BE49-F238E27FC236}">
                <a16:creationId xmlns="" xmlns:a16="http://schemas.microsoft.com/office/drawing/2014/main" id="{F19EB28E-CC30-4FD7-9952-2F47C1898006}"/>
              </a:ext>
            </a:extLst>
          </p:cNvPr>
          <p:cNvSpPr/>
          <p:nvPr/>
        </p:nvSpPr>
        <p:spPr bwMode="auto">
          <a:xfrm>
            <a:off x="5631873" y="1880442"/>
            <a:ext cx="2637763" cy="707314"/>
          </a:xfrm>
          <a:prstGeom prst="chevron">
            <a:avLst>
              <a:gd name="adj" fmla="val 28571"/>
            </a:avLst>
          </a:prstGeom>
          <a:solidFill>
            <a:srgbClr val="AF1707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допущение проблемы</a:t>
            </a:r>
            <a:endParaRPr lang="de-DE" sz="16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="" xmlns:a16="http://schemas.microsoft.com/office/drawing/2014/main" id="{722D961E-AD5D-42BB-B69D-4B0519F98DDA}"/>
              </a:ext>
            </a:extLst>
          </p:cNvPr>
          <p:cNvSpPr txBox="1"/>
          <p:nvPr/>
        </p:nvSpPr>
        <p:spPr>
          <a:xfrm>
            <a:off x="682994" y="1393669"/>
            <a:ext cx="82225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"/>
            <a:r>
              <a:rPr lang="ru-RU" b="1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ТОДИКА</a:t>
            </a:r>
          </a:p>
        </p:txBody>
      </p:sp>
      <p:sp>
        <p:nvSpPr>
          <p:cNvPr id="19" name="TextColumnContent">
            <a:extLst>
              <a:ext uri="{FF2B5EF4-FFF2-40B4-BE49-F238E27FC236}">
                <a16:creationId xmlns="" xmlns:a16="http://schemas.microsoft.com/office/drawing/2014/main" id="{6DC21193-5D3A-49A5-A3E7-EE3C7BE1D010}"/>
              </a:ext>
            </a:extLst>
          </p:cNvPr>
          <p:cNvSpPr>
            <a:spLocks noChangeArrowheads="1"/>
          </p:cNvSpPr>
          <p:nvPr/>
        </p:nvSpPr>
        <p:spPr bwMode="gray">
          <a:xfrm>
            <a:off x="642909" y="5464331"/>
            <a:ext cx="2484838" cy="238618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lIns="0" tIns="0" rIns="0" bIns="0"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Заголовок 1"/>
          <p:cNvSpPr txBox="1">
            <a:spLocks/>
          </p:cNvSpPr>
          <p:nvPr/>
        </p:nvSpPr>
        <p:spPr>
          <a:xfrm>
            <a:off x="2838451" y="479906"/>
            <a:ext cx="5276850" cy="267137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4400" kern="1200" dirty="0">
                <a:solidFill>
                  <a:srgbClr val="002060"/>
                </a:solidFill>
                <a:latin typeface="Fedra Sans Pro Bold" panose="020B08040400000200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ru-RU" sz="1400" spc="40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ПРАВИТЕЛЬСТВО НОВГОРОДСКОЙ ОБЛАСТИ</a:t>
            </a:r>
          </a:p>
          <a:p>
            <a:pPr algn="ctr"/>
            <a:r>
              <a:rPr lang="ru-RU" sz="1400" spc="40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Министерство здравоохранения Новгородской области</a:t>
            </a:r>
            <a:endParaRPr lang="ru-RU" sz="1400" spc="40" dirty="0">
              <a:solidFill>
                <a:srgbClr val="F348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CF2BF121-68F2-4A7B-AB3C-D33B4401939A}"/>
              </a:ext>
            </a:extLst>
          </p:cNvPr>
          <p:cNvSpPr/>
          <p:nvPr/>
        </p:nvSpPr>
        <p:spPr>
          <a:xfrm>
            <a:off x="682994" y="2724156"/>
            <a:ext cx="2456277" cy="2005560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лучение свода и структуры отзывов населения о медицинской помощи в разрезе </a:t>
            </a:r>
            <a:r>
              <a:rPr lang="ru-RU" sz="1400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оценка, медицинская организация, район, врач, условия оказания медицинской помощь, профиль и т.д.)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="" xmlns:a16="http://schemas.microsoft.com/office/drawing/2014/main" id="{627973CF-FBA3-4F63-A3FC-FEC9DDA08BBC}"/>
              </a:ext>
            </a:extLst>
          </p:cNvPr>
          <p:cNvSpPr/>
          <p:nvPr/>
        </p:nvSpPr>
        <p:spPr>
          <a:xfrm>
            <a:off x="675702" y="4839669"/>
            <a:ext cx="2456277" cy="470962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руппировка отзывов</a:t>
            </a:r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="" xmlns:a16="http://schemas.microsoft.com/office/drawing/2014/main" id="{1BB324AE-8790-4F76-80D9-38BC80C4505B}"/>
              </a:ext>
            </a:extLst>
          </p:cNvPr>
          <p:cNvSpPr/>
          <p:nvPr/>
        </p:nvSpPr>
        <p:spPr>
          <a:xfrm>
            <a:off x="3259973" y="2704737"/>
            <a:ext cx="2251197" cy="1143677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нализ результатов </a:t>
            </a: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зывов </a:t>
            </a:r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циальных </a:t>
            </a: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етях и медицинских порталах</a:t>
            </a:r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="" xmlns:a16="http://schemas.microsoft.com/office/drawing/2014/main" id="{3D67ED0D-6302-4914-9592-8CB0836AF636}"/>
              </a:ext>
            </a:extLst>
          </p:cNvPr>
          <p:cNvSpPr/>
          <p:nvPr/>
        </p:nvSpPr>
        <p:spPr>
          <a:xfrm>
            <a:off x="3259973" y="3983022"/>
            <a:ext cx="2251197" cy="566665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нятие решения по результатам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="" xmlns:a16="http://schemas.microsoft.com/office/drawing/2014/main" id="{493A3931-81D7-491A-B946-F8378739DAE2}"/>
              </a:ext>
            </a:extLst>
          </p:cNvPr>
          <p:cNvSpPr/>
          <p:nvPr/>
        </p:nvSpPr>
        <p:spPr>
          <a:xfrm>
            <a:off x="5631873" y="2704738"/>
            <a:ext cx="2418551" cy="571838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нжирование медицинских организаций</a:t>
            </a:r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="" xmlns:a16="http://schemas.microsoft.com/office/drawing/2014/main" id="{ED1D531F-DAF8-499D-ADAA-0F08190D3250}"/>
              </a:ext>
            </a:extLst>
          </p:cNvPr>
          <p:cNvSpPr/>
          <p:nvPr/>
        </p:nvSpPr>
        <p:spPr>
          <a:xfrm>
            <a:off x="5617788" y="3406947"/>
            <a:ext cx="2418551" cy="1558250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нятие мер  по повышению уровня удовлетворенности качеством оказания медицинской помощи на </a:t>
            </a:r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нове проведенного анализа </a:t>
            </a: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зывов</a:t>
            </a:r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Прямоугольник 25">
            <a:extLst>
              <a:ext uri="{FF2B5EF4-FFF2-40B4-BE49-F238E27FC236}">
                <a16:creationId xmlns="" xmlns:a16="http://schemas.microsoft.com/office/drawing/2014/main" id="{9C7E6274-BE7C-40E8-894A-339079B69254}"/>
              </a:ext>
            </a:extLst>
          </p:cNvPr>
          <p:cNvSpPr/>
          <p:nvPr/>
        </p:nvSpPr>
        <p:spPr>
          <a:xfrm>
            <a:off x="5617787" y="5041090"/>
            <a:ext cx="2418551" cy="690868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нятия мер по исключению факторов приводящих к проблеме</a:t>
            </a:r>
          </a:p>
        </p:txBody>
      </p:sp>
      <p:sp>
        <p:nvSpPr>
          <p:cNvPr id="27" name="ValueChainStarter">
            <a:extLst>
              <a:ext uri="{FF2B5EF4-FFF2-40B4-BE49-F238E27FC236}">
                <a16:creationId xmlns="" xmlns:a16="http://schemas.microsoft.com/office/drawing/2014/main" id="{364210B9-FD83-4C18-8207-79D3FDFF93AF}"/>
              </a:ext>
            </a:extLst>
          </p:cNvPr>
          <p:cNvSpPr/>
          <p:nvPr/>
        </p:nvSpPr>
        <p:spPr bwMode="auto">
          <a:xfrm>
            <a:off x="682993" y="1872563"/>
            <a:ext cx="2711371" cy="707314"/>
          </a:xfrm>
          <a:prstGeom prst="chevron">
            <a:avLst>
              <a:gd name="adj" fmla="val 28571"/>
            </a:avLst>
          </a:prstGeom>
          <a:solidFill>
            <a:srgbClr val="AF1707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ru-RU" sz="16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нимание </a:t>
            </a:r>
          </a:p>
          <a:p>
            <a:pPr lvl="0" algn="ctr"/>
            <a:r>
              <a:rPr lang="ru-RU" sz="16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блемы</a:t>
            </a:r>
            <a:endParaRPr lang="de-DE" sz="16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09941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7500" y="263724"/>
            <a:ext cx="711200" cy="823920"/>
          </a:xfrm>
          <a:prstGeom prst="rect">
            <a:avLst/>
          </a:prstGeom>
        </p:spPr>
      </p:pic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603250" y="222047"/>
            <a:ext cx="1295400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5000" dirty="0">
                <a:solidFill>
                  <a:schemeClr val="bg2">
                    <a:lumMod val="75000"/>
                  </a:schemeClr>
                </a:solidFill>
              </a:rPr>
              <a:t>0</a:t>
            </a:r>
            <a:r>
              <a:rPr lang="ru-RU" altLang="ru-RU" sz="5000" dirty="0">
                <a:solidFill>
                  <a:srgbClr val="F34840"/>
                </a:solidFill>
              </a:rPr>
              <a:t>6</a:t>
            </a:r>
          </a:p>
        </p:txBody>
      </p:sp>
      <p:sp>
        <p:nvSpPr>
          <p:cNvPr id="16" name="Заголовок 6">
            <a:extLst>
              <a:ext uri="{FF2B5EF4-FFF2-40B4-BE49-F238E27FC236}">
                <a16:creationId xmlns="" xmlns:a16="http://schemas.microsoft.com/office/drawing/2014/main" id="{D9E4398A-F57C-44F1-B6BC-5FE6C95B46E5}"/>
              </a:ext>
            </a:extLst>
          </p:cNvPr>
          <p:cNvSpPr txBox="1">
            <a:spLocks/>
          </p:cNvSpPr>
          <p:nvPr/>
        </p:nvSpPr>
        <p:spPr>
          <a:xfrm>
            <a:off x="756138" y="1360631"/>
            <a:ext cx="7536962" cy="507995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1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АТФОРМА</a:t>
            </a:r>
          </a:p>
        </p:txBody>
      </p:sp>
      <p:sp>
        <p:nvSpPr>
          <p:cNvPr id="7" name="TextColumnContent">
            <a:extLst>
              <a:ext uri="{FF2B5EF4-FFF2-40B4-BE49-F238E27FC236}">
                <a16:creationId xmlns="" xmlns:a16="http://schemas.microsoft.com/office/drawing/2014/main" id="{64C57403-F0B4-42DE-A315-5C9086C5610F}"/>
              </a:ext>
            </a:extLst>
          </p:cNvPr>
          <p:cNvSpPr>
            <a:spLocks noChangeArrowheads="1"/>
          </p:cNvSpPr>
          <p:nvPr/>
        </p:nvSpPr>
        <p:spPr bwMode="gray">
          <a:xfrm>
            <a:off x="716383" y="1360632"/>
            <a:ext cx="8175825" cy="37084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pPr lvl="0">
              <a:buClr>
                <a:srgbClr val="C00000"/>
              </a:buClr>
            </a:pPr>
            <a:endParaRPr lang="en-US" sz="24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88975" lvl="2" indent="-285750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2838451" y="479906"/>
            <a:ext cx="5276850" cy="267137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4400" kern="1200" dirty="0">
                <a:solidFill>
                  <a:srgbClr val="002060"/>
                </a:solidFill>
                <a:latin typeface="Fedra Sans Pro Bold" panose="020B08040400000200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ru-RU" sz="1400" spc="40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ПРАВИТЕЛЬСТВО НОВГОРОДСКОЙ ОБЛАСТИ</a:t>
            </a:r>
          </a:p>
          <a:p>
            <a:pPr algn="ctr"/>
            <a:r>
              <a:rPr lang="ru-RU" sz="1400" spc="40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Министерство здравоохранения Новгородской области</a:t>
            </a:r>
            <a:endParaRPr lang="ru-RU" sz="1400" spc="40" dirty="0">
              <a:solidFill>
                <a:srgbClr val="F348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 descr="Облачные вычисления">
            <a:extLst>
              <a:ext uri="{FF2B5EF4-FFF2-40B4-BE49-F238E27FC236}">
                <a16:creationId xmlns="" xmlns:a16="http://schemas.microsoft.com/office/drawing/2014/main" id="{D33C0437-87FD-462E-986A-610354D4B2B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28675" y="2302959"/>
            <a:ext cx="2139950" cy="2139950"/>
          </a:xfrm>
          <a:prstGeom prst="rect">
            <a:avLst/>
          </a:prstGeom>
        </p:spPr>
      </p:pic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FF2B69B7-ED9B-40D7-BBB1-2242386A825F}"/>
              </a:ext>
            </a:extLst>
          </p:cNvPr>
          <p:cNvSpPr/>
          <p:nvPr/>
        </p:nvSpPr>
        <p:spPr>
          <a:xfrm>
            <a:off x="3260789" y="2774796"/>
            <a:ext cx="5639175" cy="944871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14300" lvl="1" algn="just">
              <a:buClr>
                <a:srgbClr val="C00000"/>
              </a:buClr>
            </a:pPr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кстовый классификатор (модель ИИ), который определяет, относится ли текст к отзывам по медицинской тематике: парсеры собирают все доступные тексты по заданным ссылкам, </a:t>
            </a: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тавляя </a:t>
            </a:r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левантные тексты.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="" xmlns:a16="http://schemas.microsoft.com/office/drawing/2014/main" id="{74526C60-1A17-4363-9A26-0A7C45F6BA20}"/>
              </a:ext>
            </a:extLst>
          </p:cNvPr>
          <p:cNvSpPr/>
          <p:nvPr/>
        </p:nvSpPr>
        <p:spPr>
          <a:xfrm>
            <a:off x="3268545" y="1618215"/>
            <a:ext cx="5639175" cy="991252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14300" lvl="1" algn="just">
              <a:buClr>
                <a:srgbClr val="C00000"/>
              </a:buClr>
            </a:pPr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бор анализаторов онлайн ресурсов-парсеров. Парсеры по заданному времени посещают определённые сайты и собирают с них всю текстовую информацию. Все новые тексты (не содержащиеся в БД) сохраняются для дальнейшей обработки.</a:t>
            </a:r>
          </a:p>
          <a:p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Овал 11">
            <a:extLst>
              <a:ext uri="{FF2B5EF4-FFF2-40B4-BE49-F238E27FC236}">
                <a16:creationId xmlns="" xmlns:a16="http://schemas.microsoft.com/office/drawing/2014/main" id="{06244D28-6A1E-432F-B1EB-F2ED66FD935C}"/>
              </a:ext>
            </a:extLst>
          </p:cNvPr>
          <p:cNvSpPr/>
          <p:nvPr/>
        </p:nvSpPr>
        <p:spPr>
          <a:xfrm>
            <a:off x="2984136" y="1526562"/>
            <a:ext cx="322177" cy="30125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1</a:t>
            </a:r>
          </a:p>
        </p:txBody>
      </p:sp>
      <p:sp>
        <p:nvSpPr>
          <p:cNvPr id="15" name="Овал 14">
            <a:extLst>
              <a:ext uri="{FF2B5EF4-FFF2-40B4-BE49-F238E27FC236}">
                <a16:creationId xmlns="" xmlns:a16="http://schemas.microsoft.com/office/drawing/2014/main" id="{491A3961-CE77-4CD4-919E-8F6F96178529}"/>
              </a:ext>
            </a:extLst>
          </p:cNvPr>
          <p:cNvSpPr/>
          <p:nvPr/>
        </p:nvSpPr>
        <p:spPr>
          <a:xfrm>
            <a:off x="2976381" y="2682828"/>
            <a:ext cx="322177" cy="30125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2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="" xmlns:a16="http://schemas.microsoft.com/office/drawing/2014/main" id="{58404DAF-8CA5-41B4-958B-82187788B093}"/>
              </a:ext>
            </a:extLst>
          </p:cNvPr>
          <p:cNvSpPr/>
          <p:nvPr/>
        </p:nvSpPr>
        <p:spPr>
          <a:xfrm>
            <a:off x="3260789" y="3903441"/>
            <a:ext cx="5639175" cy="609012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14300" lvl="1" algn="just">
              <a:buClr>
                <a:srgbClr val="C00000"/>
              </a:buClr>
            </a:pPr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ределитель тональности текста (модель ИИ</a:t>
            </a: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 разделяет </a:t>
            </a:r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ксты на три категории: «нейтральный», «положительный», «отрицательный».</a:t>
            </a:r>
          </a:p>
        </p:txBody>
      </p:sp>
      <p:sp>
        <p:nvSpPr>
          <p:cNvPr id="18" name="Овал 17">
            <a:extLst>
              <a:ext uri="{FF2B5EF4-FFF2-40B4-BE49-F238E27FC236}">
                <a16:creationId xmlns="" xmlns:a16="http://schemas.microsoft.com/office/drawing/2014/main" id="{8BCD438B-1354-4333-8451-402A900DC87E}"/>
              </a:ext>
            </a:extLst>
          </p:cNvPr>
          <p:cNvSpPr/>
          <p:nvPr/>
        </p:nvSpPr>
        <p:spPr>
          <a:xfrm>
            <a:off x="2976381" y="3811472"/>
            <a:ext cx="322177" cy="30125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3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="" xmlns:a16="http://schemas.microsoft.com/office/drawing/2014/main" id="{6048614D-6B05-4958-9FF2-25366501424D}"/>
              </a:ext>
            </a:extLst>
          </p:cNvPr>
          <p:cNvSpPr/>
          <p:nvPr/>
        </p:nvSpPr>
        <p:spPr>
          <a:xfrm>
            <a:off x="3260789" y="4681139"/>
            <a:ext cx="5639175" cy="589226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14300" lvl="1" algn="just">
              <a:buClr>
                <a:srgbClr val="C00000"/>
              </a:buClr>
            </a:pPr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ределитель медучреждения, к которому относится </a:t>
            </a: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кст на основе </a:t>
            </a:r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гулярных </a:t>
            </a: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ражений.</a:t>
            </a:r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Овал 19">
            <a:extLst>
              <a:ext uri="{FF2B5EF4-FFF2-40B4-BE49-F238E27FC236}">
                <a16:creationId xmlns="" xmlns:a16="http://schemas.microsoft.com/office/drawing/2014/main" id="{A453C16A-7F98-47BE-B809-BA000E17AA33}"/>
              </a:ext>
            </a:extLst>
          </p:cNvPr>
          <p:cNvSpPr/>
          <p:nvPr/>
        </p:nvSpPr>
        <p:spPr>
          <a:xfrm>
            <a:off x="2976381" y="4589170"/>
            <a:ext cx="322177" cy="30125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4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F970243E-34AE-4401-9244-9C737C84B8E4}"/>
              </a:ext>
            </a:extLst>
          </p:cNvPr>
          <p:cNvSpPr/>
          <p:nvPr/>
        </p:nvSpPr>
        <p:spPr>
          <a:xfrm>
            <a:off x="3260789" y="5464188"/>
            <a:ext cx="5639175" cy="598744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14300" lvl="1" algn="just">
              <a:buClr>
                <a:srgbClr val="C00000"/>
              </a:buClr>
            </a:pPr>
            <a:r>
              <a:rPr lang="ru-RU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вод сформированных данных пользователю. Реализован на фреймворке </a:t>
            </a:r>
            <a:r>
              <a:rPr lang="ru-RU" sz="16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lask</a:t>
            </a:r>
            <a:endParaRPr lang="ru-RU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Овал 21">
            <a:extLst>
              <a:ext uri="{FF2B5EF4-FFF2-40B4-BE49-F238E27FC236}">
                <a16:creationId xmlns="" xmlns:a16="http://schemas.microsoft.com/office/drawing/2014/main" id="{5B805575-6752-43DB-B583-7CC5E51B0214}"/>
              </a:ext>
            </a:extLst>
          </p:cNvPr>
          <p:cNvSpPr/>
          <p:nvPr/>
        </p:nvSpPr>
        <p:spPr>
          <a:xfrm>
            <a:off x="2976381" y="5365295"/>
            <a:ext cx="322177" cy="30125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5847426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7500" y="263724"/>
            <a:ext cx="711200" cy="823920"/>
          </a:xfrm>
          <a:prstGeom prst="rect">
            <a:avLst/>
          </a:prstGeom>
        </p:spPr>
      </p:pic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603250" y="222047"/>
            <a:ext cx="1295400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5000" dirty="0">
                <a:solidFill>
                  <a:schemeClr val="bg2">
                    <a:lumMod val="75000"/>
                  </a:schemeClr>
                </a:solidFill>
              </a:rPr>
              <a:t>0</a:t>
            </a:r>
            <a:r>
              <a:rPr lang="ru-RU" altLang="ru-RU" sz="5000" dirty="0">
                <a:solidFill>
                  <a:srgbClr val="F34840"/>
                </a:solidFill>
              </a:rPr>
              <a:t>7</a:t>
            </a:r>
          </a:p>
        </p:txBody>
      </p:sp>
      <p:sp>
        <p:nvSpPr>
          <p:cNvPr id="16" name="Заголовок 6">
            <a:extLst>
              <a:ext uri="{FF2B5EF4-FFF2-40B4-BE49-F238E27FC236}">
                <a16:creationId xmlns="" xmlns:a16="http://schemas.microsoft.com/office/drawing/2014/main" id="{D9E4398A-F57C-44F1-B6BC-5FE6C95B46E5}"/>
              </a:ext>
            </a:extLst>
          </p:cNvPr>
          <p:cNvSpPr txBox="1">
            <a:spLocks/>
          </p:cNvSpPr>
          <p:nvPr/>
        </p:nvSpPr>
        <p:spPr>
          <a:xfrm>
            <a:off x="756138" y="1360631"/>
            <a:ext cx="7536962" cy="507995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1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ПОЛЬЗОВАННЫЕ ТЕХНОЛОГИИ</a:t>
            </a:r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2838451" y="479906"/>
            <a:ext cx="5276850" cy="267137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4400" kern="1200" dirty="0">
                <a:solidFill>
                  <a:srgbClr val="002060"/>
                </a:solidFill>
                <a:latin typeface="Fedra Sans Pro Bold" panose="020B08040400000200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ru-RU" sz="1400" spc="40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ПРАВИТЕЛЬСТВО НОВГОРОДСКОЙ ОБЛАСТИ</a:t>
            </a:r>
          </a:p>
          <a:p>
            <a:pPr algn="ctr"/>
            <a:r>
              <a:rPr lang="ru-RU" sz="1400" spc="40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Министерство здравоохранения Новгородской области</a:t>
            </a:r>
            <a:endParaRPr lang="ru-RU" sz="1400" spc="40" dirty="0">
              <a:solidFill>
                <a:srgbClr val="F348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 descr="Интернет">
            <a:extLst>
              <a:ext uri="{FF2B5EF4-FFF2-40B4-BE49-F238E27FC236}">
                <a16:creationId xmlns="" xmlns:a16="http://schemas.microsoft.com/office/drawing/2014/main" id="{C3614203-7A37-4EC3-B48B-E1D467EC7EE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4194" y="2141614"/>
            <a:ext cx="2382405" cy="2382405"/>
          </a:xfrm>
          <a:prstGeom prst="rect">
            <a:avLst/>
          </a:prstGeom>
        </p:spPr>
      </p:pic>
      <p:sp>
        <p:nvSpPr>
          <p:cNvPr id="11" name="Прямоугольник 10">
            <a:extLst>
              <a:ext uri="{FF2B5EF4-FFF2-40B4-BE49-F238E27FC236}">
                <a16:creationId xmlns="" xmlns:a16="http://schemas.microsoft.com/office/drawing/2014/main" id="{77C70E94-FE79-4591-8031-0F7A2E18F3F4}"/>
              </a:ext>
            </a:extLst>
          </p:cNvPr>
          <p:cNvSpPr/>
          <p:nvPr/>
        </p:nvSpPr>
        <p:spPr>
          <a:xfrm>
            <a:off x="3800906" y="2460339"/>
            <a:ext cx="4846371" cy="575388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ython 3.7</a:t>
            </a:r>
          </a:p>
          <a:p>
            <a:endParaRPr lang="ru-RU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2" name="Таблица 82">
            <a:extLst>
              <a:ext uri="{FF2B5EF4-FFF2-40B4-BE49-F238E27FC236}">
                <a16:creationId xmlns="" xmlns:a16="http://schemas.microsoft.com/office/drawing/2014/main" id="{3A39A8A1-7901-43F2-B33B-112B615158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8105382"/>
              </p:ext>
            </p:extLst>
          </p:nvPr>
        </p:nvGraphicFramePr>
        <p:xfrm>
          <a:off x="3802329" y="2059406"/>
          <a:ext cx="4846371" cy="276889"/>
        </p:xfrm>
        <a:graphic>
          <a:graphicData uri="http://schemas.openxmlformats.org/drawingml/2006/table">
            <a:tbl>
              <a:tblPr firstRow="1" firstCol="1" bandRow="1">
                <a:tableStyleId>{0E3FDE45-AF77-4B5C-9715-49D594BDF05E}</a:tableStyleId>
              </a:tblPr>
              <a:tblGrid>
                <a:gridCol w="4846371">
                  <a:extLst>
                    <a:ext uri="{9D8B030D-6E8A-4147-A177-3AD203B41FA5}">
                      <a16:colId xmlns="" xmlns:a16="http://schemas.microsoft.com/office/drawing/2014/main" val="1555315948"/>
                    </a:ext>
                  </a:extLst>
                </a:gridCol>
              </a:tblGrid>
              <a:tr h="27688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u="non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400" b="0" u="none" dirty="0">
                          <a:latin typeface="Arial" pitchFamily="34" charset="0"/>
                          <a:cs typeface="Arial" pitchFamily="34" charset="0"/>
                        </a:rPr>
                        <a:t>Язык программирования:</a:t>
                      </a:r>
                    </a:p>
                  </a:txBody>
                  <a:tcPr marL="30784" marR="30784" marT="3264" marB="3264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8" name="Прямоугольник 17">
            <a:extLst>
              <a:ext uri="{FF2B5EF4-FFF2-40B4-BE49-F238E27FC236}">
                <a16:creationId xmlns="" xmlns:a16="http://schemas.microsoft.com/office/drawing/2014/main" id="{0B357537-E5FA-4226-BE51-16B93F8449AC}"/>
              </a:ext>
            </a:extLst>
          </p:cNvPr>
          <p:cNvSpPr/>
          <p:nvPr/>
        </p:nvSpPr>
        <p:spPr>
          <a:xfrm>
            <a:off x="3800906" y="3627440"/>
            <a:ext cx="4846371" cy="575388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eautifulsoup4, flair, Flask, newspaper3k, pymystem3, </a:t>
            </a:r>
            <a:r>
              <a:rPr lang="en-US" sz="16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k-api</a:t>
            </a:r>
            <a:r>
              <a:rPr lang="en-US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6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dis</a:t>
            </a:r>
            <a:endParaRPr lang="en-US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9" name="Таблица 82">
            <a:extLst>
              <a:ext uri="{FF2B5EF4-FFF2-40B4-BE49-F238E27FC236}">
                <a16:creationId xmlns="" xmlns:a16="http://schemas.microsoft.com/office/drawing/2014/main" id="{5D38D03F-AEC2-41A1-9786-E8F470D267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0517516"/>
              </p:ext>
            </p:extLst>
          </p:nvPr>
        </p:nvGraphicFramePr>
        <p:xfrm>
          <a:off x="3802329" y="3226507"/>
          <a:ext cx="4846371" cy="276889"/>
        </p:xfrm>
        <a:graphic>
          <a:graphicData uri="http://schemas.openxmlformats.org/drawingml/2006/table">
            <a:tbl>
              <a:tblPr firstRow="1" firstCol="1" bandRow="1">
                <a:tableStyleId>{0E3FDE45-AF77-4B5C-9715-49D594BDF05E}</a:tableStyleId>
              </a:tblPr>
              <a:tblGrid>
                <a:gridCol w="4846371">
                  <a:extLst>
                    <a:ext uri="{9D8B030D-6E8A-4147-A177-3AD203B41FA5}">
                      <a16:colId xmlns="" xmlns:a16="http://schemas.microsoft.com/office/drawing/2014/main" val="1555315948"/>
                    </a:ext>
                  </a:extLst>
                </a:gridCol>
              </a:tblGrid>
              <a:tr h="27688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u="non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400" b="0" u="none" dirty="0">
                          <a:latin typeface="Arial" pitchFamily="34" charset="0"/>
                          <a:cs typeface="Arial" pitchFamily="34" charset="0"/>
                        </a:rPr>
                        <a:t>Основные библиотеки:</a:t>
                      </a:r>
                    </a:p>
                  </a:txBody>
                  <a:tcPr marL="30784" marR="30784" marT="3264" marB="3264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0" name="Прямоугольник 19">
            <a:extLst>
              <a:ext uri="{FF2B5EF4-FFF2-40B4-BE49-F238E27FC236}">
                <a16:creationId xmlns="" xmlns:a16="http://schemas.microsoft.com/office/drawing/2014/main" id="{77D14CB1-054E-412B-B479-390CF45CE57E}"/>
              </a:ext>
            </a:extLst>
          </p:cNvPr>
          <p:cNvSpPr/>
          <p:nvPr/>
        </p:nvSpPr>
        <p:spPr>
          <a:xfrm>
            <a:off x="3799483" y="4794541"/>
            <a:ext cx="4846371" cy="575388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inux </a:t>
            </a:r>
          </a:p>
          <a:p>
            <a:endParaRPr lang="ru-RU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21" name="Таблица 82">
            <a:extLst>
              <a:ext uri="{FF2B5EF4-FFF2-40B4-BE49-F238E27FC236}">
                <a16:creationId xmlns="" xmlns:a16="http://schemas.microsoft.com/office/drawing/2014/main" id="{4BEF76EB-B4F3-4C11-AF54-CDB153CB28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2414104"/>
              </p:ext>
            </p:extLst>
          </p:nvPr>
        </p:nvGraphicFramePr>
        <p:xfrm>
          <a:off x="3800906" y="4393608"/>
          <a:ext cx="4846371" cy="276889"/>
        </p:xfrm>
        <a:graphic>
          <a:graphicData uri="http://schemas.openxmlformats.org/drawingml/2006/table">
            <a:tbl>
              <a:tblPr firstRow="1" firstCol="1" bandRow="1">
                <a:tableStyleId>{0E3FDE45-AF77-4B5C-9715-49D594BDF05E}</a:tableStyleId>
              </a:tblPr>
              <a:tblGrid>
                <a:gridCol w="4846371">
                  <a:extLst>
                    <a:ext uri="{9D8B030D-6E8A-4147-A177-3AD203B41FA5}">
                      <a16:colId xmlns="" xmlns:a16="http://schemas.microsoft.com/office/drawing/2014/main" val="1555315948"/>
                    </a:ext>
                  </a:extLst>
                </a:gridCol>
              </a:tblGrid>
              <a:tr h="27688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u="non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400" b="0" u="none" dirty="0">
                          <a:latin typeface="Arial" pitchFamily="34" charset="0"/>
                          <a:cs typeface="Arial" pitchFamily="34" charset="0"/>
                        </a:rPr>
                        <a:t>Среда для запуска:</a:t>
                      </a:r>
                    </a:p>
                  </a:txBody>
                  <a:tcPr marL="30784" marR="30784" marT="3264" marB="3264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485238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7500" y="263724"/>
            <a:ext cx="711200" cy="823920"/>
          </a:xfrm>
          <a:prstGeom prst="rect">
            <a:avLst/>
          </a:prstGeom>
        </p:spPr>
      </p:pic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603250" y="222047"/>
            <a:ext cx="1295400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5000" dirty="0">
                <a:solidFill>
                  <a:schemeClr val="bg2">
                    <a:lumMod val="75000"/>
                  </a:schemeClr>
                </a:solidFill>
              </a:rPr>
              <a:t>0</a:t>
            </a:r>
            <a:r>
              <a:rPr lang="ru-RU" altLang="ru-RU" sz="5000" dirty="0">
                <a:solidFill>
                  <a:srgbClr val="F34840"/>
                </a:solidFill>
              </a:rPr>
              <a:t>8</a:t>
            </a:r>
          </a:p>
        </p:txBody>
      </p:sp>
      <p:sp>
        <p:nvSpPr>
          <p:cNvPr id="16" name="Заголовок 6">
            <a:extLst>
              <a:ext uri="{FF2B5EF4-FFF2-40B4-BE49-F238E27FC236}">
                <a16:creationId xmlns="" xmlns:a16="http://schemas.microsoft.com/office/drawing/2014/main" id="{D9E4398A-F57C-44F1-B6BC-5FE6C95B46E5}"/>
              </a:ext>
            </a:extLst>
          </p:cNvPr>
          <p:cNvSpPr txBox="1">
            <a:spLocks/>
          </p:cNvSpPr>
          <p:nvPr/>
        </p:nvSpPr>
        <p:spPr>
          <a:xfrm>
            <a:off x="756138" y="1360631"/>
            <a:ext cx="7536962" cy="507995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</a:t>
            </a:r>
            <a:r>
              <a:rPr lang="ru-RU" sz="1800" b="1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СТРАНИЦА</a:t>
            </a:r>
          </a:p>
        </p:txBody>
      </p:sp>
      <p:sp>
        <p:nvSpPr>
          <p:cNvPr id="7" name="TextColumnContent">
            <a:extLst>
              <a:ext uri="{FF2B5EF4-FFF2-40B4-BE49-F238E27FC236}">
                <a16:creationId xmlns="" xmlns:a16="http://schemas.microsoft.com/office/drawing/2014/main" id="{64C57403-F0B4-42DE-A315-5C9086C5610F}"/>
              </a:ext>
            </a:extLst>
          </p:cNvPr>
          <p:cNvSpPr>
            <a:spLocks noChangeArrowheads="1"/>
          </p:cNvSpPr>
          <p:nvPr/>
        </p:nvSpPr>
        <p:spPr bwMode="gray">
          <a:xfrm>
            <a:off x="716383" y="1360632"/>
            <a:ext cx="8175825" cy="37084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pPr lvl="0">
              <a:buClr>
                <a:srgbClr val="C00000"/>
              </a:buClr>
            </a:pPr>
            <a:endParaRPr lang="en-US" sz="24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88975" lvl="2" indent="-285750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2838451" y="479906"/>
            <a:ext cx="5276850" cy="267137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4400" kern="1200" dirty="0">
                <a:solidFill>
                  <a:srgbClr val="002060"/>
                </a:solidFill>
                <a:latin typeface="Fedra Sans Pro Bold" panose="020B08040400000200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ru-RU" sz="1400" spc="40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ПРАВИТЕЛЬСТВО НОВГОРОДСКОЙ ОБЛАСТИ</a:t>
            </a:r>
          </a:p>
          <a:p>
            <a:pPr algn="ctr"/>
            <a:r>
              <a:rPr lang="ru-RU" sz="1400" spc="40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Министерство здравоохранения Новгородской области</a:t>
            </a:r>
            <a:endParaRPr lang="ru-RU" sz="1400" spc="40" dirty="0">
              <a:solidFill>
                <a:srgbClr val="F348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27" name="Picture 3" descr="C:\Users\Petr\Downloads\Качество услуг.jpg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204" y="2042798"/>
            <a:ext cx="8756830" cy="41751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191747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YZ.k2DSlSgGxWJQcJ_b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YZ.k2DSlSgGxWJQcJ_bQ"/>
</p:tagLst>
</file>

<file path=ppt/theme/theme1.xml><?xml version="1.0" encoding="utf-8"?>
<a:theme xmlns:a="http://schemas.openxmlformats.org/drawingml/2006/main" name="Правительство НО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99</Words>
  <Application>Microsoft Office PowerPoint</Application>
  <PresentationFormat>Экран (4:3)</PresentationFormat>
  <Paragraphs>176</Paragraphs>
  <Slides>14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2</vt:i4>
      </vt:variant>
      <vt:variant>
        <vt:lpstr>Заголовки слайдов</vt:lpstr>
      </vt:variant>
      <vt:variant>
        <vt:i4>14</vt:i4>
      </vt:variant>
    </vt:vector>
  </HeadingPairs>
  <TitlesOfParts>
    <vt:vector size="16" baseType="lpstr">
      <vt:lpstr>Правительство НО</vt:lpstr>
      <vt:lpstr>Специальное оформление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cp:lastModifiedBy>ПК</cp:lastModifiedBy>
  <cp:revision>1</cp:revision>
  <dcterms:modified xsi:type="dcterms:W3CDTF">2019-12-24T14:04:36Z</dcterms:modified>
</cp:coreProperties>
</file>